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5.xml" ContentType="application/vnd.openxmlformats-officedocument.presentationml.tags+xml"/>
  <Override PartName="/ppt/theme/themeOverride1.xml" ContentType="application/vnd.openxmlformats-officedocument.themeOverride+xml"/>
  <Override PartName="/ppt/tags/tag6.xml" ContentType="application/vnd.openxmlformats-officedocument.presentationml.tags+xml"/>
  <Override PartName="/ppt/theme/themeOverride2.xml" ContentType="application/vnd.openxmlformats-officedocument.themeOverride+xml"/>
  <Override PartName="/ppt/tags/tag7.xml" ContentType="application/vnd.openxmlformats-officedocument.presentationml.tags+xml"/>
  <Override PartName="/ppt/notesSlides/notesSlide3.xml" ContentType="application/vnd.openxmlformats-officedocument.presentationml.notesSlide+xml"/>
  <Override PartName="/ppt/theme/themeOverride3.xml" ContentType="application/vnd.openxmlformats-officedocument.themeOverride+xml"/>
  <Override PartName="/ppt/tags/tag8.xml" ContentType="application/vnd.openxmlformats-officedocument.presentationml.tags+xml"/>
  <Override PartName="/ppt/notesSlides/notesSlide4.xml" ContentType="application/vnd.openxmlformats-officedocument.presentationml.notesSlide+xml"/>
  <Override PartName="/ppt/theme/themeOverride4.xml" ContentType="application/vnd.openxmlformats-officedocument.themeOverride+xml"/>
  <Override PartName="/ppt/tags/tag9.xml" ContentType="application/vnd.openxmlformats-officedocument.presentationml.tags+xml"/>
  <Override PartName="/ppt/notesSlides/notesSlide5.xml" ContentType="application/vnd.openxmlformats-officedocument.presentationml.notesSlide+xml"/>
  <Override PartName="/ppt/theme/themeOverride5.xml" ContentType="application/vnd.openxmlformats-officedocument.themeOverride+xml"/>
  <Override PartName="/ppt/tags/tag10.xml" ContentType="application/vnd.openxmlformats-officedocument.presentationml.tags+xml"/>
  <Override PartName="/ppt/notesSlides/notesSlide6.xml" ContentType="application/vnd.openxmlformats-officedocument.presentationml.notesSlide+xml"/>
  <Override PartName="/ppt/theme/themeOverride6.xml" ContentType="application/vnd.openxmlformats-officedocument.themeOverride+xml"/>
  <Override PartName="/ppt/tags/tag11.xml" ContentType="application/vnd.openxmlformats-officedocument.presentationml.tags+xml"/>
  <Override PartName="/ppt/notesSlides/notesSlide7.xml" ContentType="application/vnd.openxmlformats-officedocument.presentationml.notesSlide+xml"/>
  <Override PartName="/ppt/theme/themeOverride7.xml" ContentType="application/vnd.openxmlformats-officedocument.themeOverride+xml"/>
  <Override PartName="/ppt/tags/tag12.xml" ContentType="application/vnd.openxmlformats-officedocument.presentationml.tags+xml"/>
  <Override PartName="/ppt/notesSlides/notesSlide8.xml" ContentType="application/vnd.openxmlformats-officedocument.presentationml.notesSlide+xml"/>
  <Override PartName="/ppt/theme/themeOverride8.xml" ContentType="application/vnd.openxmlformats-officedocument.themeOverride+xml"/>
  <Override PartName="/ppt/tags/tag13.xml" ContentType="application/vnd.openxmlformats-officedocument.presentationml.tags+xml"/>
  <Override PartName="/ppt/notesSlides/notesSlide9.xml" ContentType="application/vnd.openxmlformats-officedocument.presentationml.notesSlide+xml"/>
  <Override PartName="/ppt/theme/themeOverride9.xml" ContentType="application/vnd.openxmlformats-officedocument.themeOverride+xml"/>
  <Override PartName="/ppt/tags/tag14.xml" ContentType="application/vnd.openxmlformats-officedocument.presentationml.tags+xml"/>
  <Override PartName="/ppt/notesSlides/notesSlide10.xml" ContentType="application/vnd.openxmlformats-officedocument.presentationml.notesSlide+xml"/>
  <Override PartName="/ppt/theme/themeOverride10.xml" ContentType="application/vnd.openxmlformats-officedocument.themeOverride+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heme/themeOverride11.xml" ContentType="application/vnd.openxmlformats-officedocument.themeOverride+xml"/>
  <Override PartName="/ppt/tags/tag16.xml" ContentType="application/vnd.openxmlformats-officedocument.presentationml.tags+xml"/>
  <Override PartName="/ppt/notesSlides/notesSlide14.xml" ContentType="application/vnd.openxmlformats-officedocument.presentationml.notesSlide+xml"/>
  <Override PartName="/ppt/theme/themeOverride12.xml" ContentType="application/vnd.openxmlformats-officedocument.themeOverride+xml"/>
  <Override PartName="/ppt/tags/tag17.xml" ContentType="application/vnd.openxmlformats-officedocument.presentationml.tags+xml"/>
  <Override PartName="/ppt/notesSlides/notesSlide15.xml" ContentType="application/vnd.openxmlformats-officedocument.presentationml.notesSlide+xml"/>
  <Override PartName="/ppt/theme/themeOverride13.xml" ContentType="application/vnd.openxmlformats-officedocument.themeOverride+xml"/>
  <Override PartName="/ppt/tags/tag18.xml" ContentType="application/vnd.openxmlformats-officedocument.presentationml.tags+xml"/>
  <Override PartName="/ppt/notesSlides/notesSlide16.xml" ContentType="application/vnd.openxmlformats-officedocument.presentationml.notesSlide+xml"/>
  <Override PartName="/ppt/theme/themeOverride14.xml" ContentType="application/vnd.openxmlformats-officedocument.themeOverride+xml"/>
  <Override PartName="/ppt/tags/tag19.xml" ContentType="application/vnd.openxmlformats-officedocument.presentationml.tags+xml"/>
  <Override PartName="/ppt/notesSlides/notesSlide17.xml" ContentType="application/vnd.openxmlformats-officedocument.presentationml.notesSlide+xml"/>
  <Override PartName="/ppt/theme/themeOverride15.xml" ContentType="application/vnd.openxmlformats-officedocument.themeOverride+xml"/>
  <Override PartName="/ppt/tags/tag20.xml" ContentType="application/vnd.openxmlformats-officedocument.presentationml.tags+xml"/>
  <Override PartName="/ppt/notesSlides/notesSlide18.xml" ContentType="application/vnd.openxmlformats-officedocument.presentationml.notesSlide+xml"/>
  <Override PartName="/ppt/theme/themeOverride16.xml" ContentType="application/vnd.openxmlformats-officedocument.themeOverride+xml"/>
  <Override PartName="/ppt/tags/tag21.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heme/themeOverride17.xml" ContentType="application/vnd.openxmlformats-officedocument.themeOverride+xml"/>
  <Override PartName="/ppt/tags/tag22.xml" ContentType="application/vnd.openxmlformats-officedocument.presentationml.tags+xml"/>
  <Override PartName="/ppt/notesSlides/notesSlide22.xml" ContentType="application/vnd.openxmlformats-officedocument.presentationml.notesSlide+xml"/>
  <Override PartName="/ppt/theme/themeOverride18.xml" ContentType="application/vnd.openxmlformats-officedocument.themeOverride+xml"/>
  <Override PartName="/ppt/tags/tag23.xml" ContentType="application/vnd.openxmlformats-officedocument.presentationml.tags+xml"/>
  <Override PartName="/ppt/notesSlides/notesSlide23.xml" ContentType="application/vnd.openxmlformats-officedocument.presentationml.notesSlide+xml"/>
  <Override PartName="/ppt/theme/themeOverride19.xml" ContentType="application/vnd.openxmlformats-officedocument.themeOverride+xml"/>
  <Override PartName="/ppt/tags/tag24.xml" ContentType="application/vnd.openxmlformats-officedocument.presentationml.tags+xml"/>
  <Override PartName="/ppt/notesSlides/notesSlide24.xml" ContentType="application/vnd.openxmlformats-officedocument.presentationml.notesSlide+xml"/>
  <Override PartName="/ppt/theme/themeOverride20.xml" ContentType="application/vnd.openxmlformats-officedocument.themeOverride+xml"/>
  <Override PartName="/ppt/tags/tag25.xml" ContentType="application/vnd.openxmlformats-officedocument.presentationml.tags+xml"/>
  <Override PartName="/ppt/notesSlides/notesSlide25.xml" ContentType="application/vnd.openxmlformats-officedocument.presentationml.notesSlide+xml"/>
  <Override PartName="/ppt/theme/themeOverride21.xml" ContentType="application/vnd.openxmlformats-officedocument.themeOverride+xml"/>
  <Override PartName="/ppt/tags/tag26.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heme/themeOverride22.xml" ContentType="application/vnd.openxmlformats-officedocument.themeOverride+xml"/>
  <Override PartName="/ppt/tags/tag27.xml" ContentType="application/vnd.openxmlformats-officedocument.presentationml.tags+xml"/>
  <Override PartName="/ppt/notesSlides/notesSlide28.xml" ContentType="application/vnd.openxmlformats-officedocument.presentationml.notesSlide+xml"/>
  <Override PartName="/ppt/theme/themeOverride23.xml" ContentType="application/vnd.openxmlformats-officedocument.themeOverride+xml"/>
  <Override PartName="/ppt/tags/tag28.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theme/themeOverride24.xml" ContentType="application/vnd.openxmlformats-officedocument.themeOverride+xml"/>
  <Override PartName="/ppt/tags/tag29.xml" ContentType="application/vnd.openxmlformats-officedocument.presentationml.tags+xml"/>
  <Override PartName="/ppt/notesSlides/notesSlide32.xml" ContentType="application/vnd.openxmlformats-officedocument.presentationml.notesSlide+xml"/>
  <Override PartName="/ppt/theme/themeOverride25.xml" ContentType="application/vnd.openxmlformats-officedocument.themeOverride+xml"/>
  <Override PartName="/ppt/tags/tag30.xml" ContentType="application/vnd.openxmlformats-officedocument.presentationml.tags+xml"/>
  <Override PartName="/ppt/notesSlides/notesSlide33.xml" ContentType="application/vnd.openxmlformats-officedocument.presentationml.notesSlide+xml"/>
  <Override PartName="/ppt/theme/themeOverride26.xml" ContentType="application/vnd.openxmlformats-officedocument.themeOverride+xml"/>
  <Override PartName="/ppt/tags/tag31.xml" ContentType="application/vnd.openxmlformats-officedocument.presentationml.tags+xml"/>
  <Override PartName="/ppt/notesSlides/notesSlide34.xml" ContentType="application/vnd.openxmlformats-officedocument.presentationml.notesSlide+xml"/>
  <Override PartName="/ppt/theme/themeOverride27.xml" ContentType="application/vnd.openxmlformats-officedocument.themeOverride+xml"/>
  <Override PartName="/ppt/tags/tag32.xml" ContentType="application/vnd.openxmlformats-officedocument.presentationml.tags+xml"/>
  <Override PartName="/ppt/notesSlides/notesSlide35.xml" ContentType="application/vnd.openxmlformats-officedocument.presentationml.notesSlide+xml"/>
  <Override PartName="/ppt/theme/themeOverride28.xml" ContentType="application/vnd.openxmlformats-officedocument.themeOverride+xml"/>
  <Override PartName="/ppt/tags/tag33.xml" ContentType="application/vnd.openxmlformats-officedocument.presentationml.tags+xml"/>
  <Override PartName="/ppt/notesSlides/notesSlide36.xml" ContentType="application/vnd.openxmlformats-officedocument.presentationml.notesSlide+xml"/>
  <Override PartName="/ppt/theme/themeOverride29.xml" ContentType="application/vnd.openxmlformats-officedocument.themeOverride+xml"/>
  <Override PartName="/ppt/tags/tag34.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heme/themeOverride30.xml" ContentType="application/vnd.openxmlformats-officedocument.themeOverride+xml"/>
  <Override PartName="/ppt/tags/tag35.xml" ContentType="application/vnd.openxmlformats-officedocument.presentationml.tags+xml"/>
  <Override PartName="/ppt/notesSlides/notesSlide40.xml" ContentType="application/vnd.openxmlformats-officedocument.presentationml.notesSlide+xml"/>
  <Override PartName="/ppt/theme/themeOverride31.xml" ContentType="application/vnd.openxmlformats-officedocument.themeOverride+xml"/>
  <Override PartName="/ppt/tags/tag36.xml" ContentType="application/vnd.openxmlformats-officedocument.presentationml.tags+xml"/>
  <Override PartName="/ppt/notesSlides/notesSlide41.xml" ContentType="application/vnd.openxmlformats-officedocument.presentationml.notesSlide+xml"/>
  <Override PartName="/ppt/theme/themeOverride32.xml" ContentType="application/vnd.openxmlformats-officedocument.themeOverride+xml"/>
  <Override PartName="/ppt/tags/tag37.xml" ContentType="application/vnd.openxmlformats-officedocument.presentationml.tags+xml"/>
  <Override PartName="/ppt/notesSlides/notesSlide42.xml" ContentType="application/vnd.openxmlformats-officedocument.presentationml.notesSlide+xml"/>
  <Override PartName="/ppt/tags/tag38.xml" ContentType="application/vnd.openxmlformats-officedocument.presentationml.tags+xml"/>
  <Override PartName="/ppt/notesSlides/notesSlide4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4450" r:id="rId4"/>
    <p:sldMasterId id="2147484085" r:id="rId5"/>
    <p:sldMasterId id="2147484077" r:id="rId6"/>
  </p:sldMasterIdLst>
  <p:notesMasterIdLst>
    <p:notesMasterId r:id="rId61"/>
  </p:notesMasterIdLst>
  <p:handoutMasterIdLst>
    <p:handoutMasterId r:id="rId62"/>
  </p:handoutMasterIdLst>
  <p:sldIdLst>
    <p:sldId id="419" r:id="rId7"/>
    <p:sldId id="909" r:id="rId8"/>
    <p:sldId id="910" r:id="rId9"/>
    <p:sldId id="911" r:id="rId10"/>
    <p:sldId id="956" r:id="rId11"/>
    <p:sldId id="836" r:id="rId12"/>
    <p:sldId id="915" r:id="rId13"/>
    <p:sldId id="259" r:id="rId14"/>
    <p:sldId id="914" r:id="rId15"/>
    <p:sldId id="916" r:id="rId16"/>
    <p:sldId id="917" r:id="rId17"/>
    <p:sldId id="918" r:id="rId18"/>
    <p:sldId id="913" r:id="rId19"/>
    <p:sldId id="919" r:id="rId20"/>
    <p:sldId id="920" r:id="rId21"/>
    <p:sldId id="921" r:id="rId22"/>
    <p:sldId id="924" r:id="rId23"/>
    <p:sldId id="925" r:id="rId24"/>
    <p:sldId id="912" r:id="rId25"/>
    <p:sldId id="261" r:id="rId26"/>
    <p:sldId id="896" r:id="rId27"/>
    <p:sldId id="926" r:id="rId28"/>
    <p:sldId id="927" r:id="rId29"/>
    <p:sldId id="895" r:id="rId30"/>
    <p:sldId id="935" r:id="rId31"/>
    <p:sldId id="928" r:id="rId32"/>
    <p:sldId id="936" r:id="rId33"/>
    <p:sldId id="937" r:id="rId34"/>
    <p:sldId id="938" r:id="rId35"/>
    <p:sldId id="933" r:id="rId36"/>
    <p:sldId id="929" r:id="rId37"/>
    <p:sldId id="939" r:id="rId38"/>
    <p:sldId id="940" r:id="rId39"/>
    <p:sldId id="941" r:id="rId40"/>
    <p:sldId id="942" r:id="rId41"/>
    <p:sldId id="943" r:id="rId42"/>
    <p:sldId id="930" r:id="rId43"/>
    <p:sldId id="944" r:id="rId44"/>
    <p:sldId id="945" r:id="rId45"/>
    <p:sldId id="934" r:id="rId46"/>
    <p:sldId id="931" r:id="rId47"/>
    <p:sldId id="946" r:id="rId48"/>
    <p:sldId id="947" r:id="rId49"/>
    <p:sldId id="948" r:id="rId50"/>
    <p:sldId id="949" r:id="rId51"/>
    <p:sldId id="950" r:id="rId52"/>
    <p:sldId id="951" r:id="rId53"/>
    <p:sldId id="952" r:id="rId54"/>
    <p:sldId id="932" r:id="rId55"/>
    <p:sldId id="953" r:id="rId56"/>
    <p:sldId id="954" r:id="rId57"/>
    <p:sldId id="955" r:id="rId58"/>
    <p:sldId id="957" r:id="rId59"/>
    <p:sldId id="489" r:id="rId60"/>
  </p:sldIdLst>
  <p:sldSz cx="12192000" cy="6858000"/>
  <p:notesSz cx="6950075" cy="9236075"/>
  <p:custDataLst>
    <p:tags r:id="rId6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 id="{35543908-D8FE-7CA0-6FB6-2AA7D39DE262}" name="Stephen M Clarke" initials="SC" userId="S::stephen.clarke@ey.com::befa8dfb-ebfb-4771-a396-69bc374478d2" providerId="AD"/>
  <p188:author id="{30CA551C-A653-332F-8488-99B9920084A8}" name="Matt Hanify" initials="MH" userId="S::Matt.Hanify@ey.com::e142ae42-f091-4afb-831c-a10f8891ab37" providerId="AD"/>
  <p188:author id="{9D227B47-0F0C-67B1-5AB0-87AE8D6F9649}" name="Reggie Hankerson" initials="RH" userId="S::Reggie.Hankerson@ey.com::cb3cd339-ea5a-4e69-b860-7f2581be6e4d" providerId="AD"/>
  <p188:author id="{7E458B67-C412-0511-FAB3-4B17EB321652}" name="Chris Kramer" initials="CK" userId="S::Christopher.Kramer@ey.com::91898555-a6b5-4c1b-8618-941af9b62861" providerId="AD"/>
  <p188:author id="{B2B23773-8882-CB2F-1FEB-2E1C99007A1E}" name="Melissa McAdoo" initials="MM" userId="S::Melissa.McAdoo@ey.com::926c6e1d-0747-43e8-b3f1-6c3308cb6fef" providerId="AD"/>
  <p188:author id="{97AA8577-EE7A-E9E3-E685-5F8C53F9CE19}" name="Eva Nitta" initials="EN" userId="S::Eva.Nitta@ey.com::72c2849b-ba90-4d59-8da5-a4b112de1bd6" providerId="AD"/>
  <p188:author id="{E04AA993-DAF3-841F-C415-79E927D4C5BD}" name="George F Pagano" initials="GP" userId="S::George.F.Pagano@ey.com::1f9495f9-0cd2-4b5c-94b5-5eca21287de9" providerId="AD"/>
  <p188:author id="{26392E9B-BD41-DD28-F444-236522FB4D2E}" name="Vanessa M Espinoza" initials="VE" userId="S::Vanessa.M.Espinoza@ey.com::faadf367-f1e2-44fd-8b0b-bfd98216818d" providerId="AD"/>
  <p188:author id="{8DE1AFE6-272C-5F6C-D741-9A1DE3BEC805}" name="Emma Walsh" initials="EW" userId="S::emma.walsh4@ey.com::ca419f8f-0a75-47b1-ad5c-1981fb384922" providerId="AD"/>
  <p188:author id="{223EEAEC-4CD6-A883-BA6C-56487011422A}" name="Lauren E Bennett" initials="LB" userId="S::Lauren.E.Bennett@ey.com::1efe2e3d-a57d-47c9-a93b-8a47366b4853" providerId="AD"/>
  <p188:author id="{B981BCFD-1F07-78E0-637E-FD3D56F9C72A}" name="Constance M Geiger" initials="CG" userId="S::Constance.Geiger@ey.com::1e5d53f2-ec73-4ee1-9998-d89ba713a96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47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1A24"/>
    <a:srgbClr val="000000"/>
    <a:srgbClr val="747480"/>
    <a:srgbClr val="C4C4CD"/>
    <a:srgbClr val="32FFFF"/>
    <a:srgbClr val="FF00FF"/>
    <a:srgbClr val="C5FD45"/>
    <a:srgbClr val="80FBFD"/>
    <a:srgbClr val="FFE600"/>
    <a:srgbClr val="EB4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23" autoAdjust="0"/>
    <p:restoredTop sz="73123" autoAdjust="0"/>
  </p:normalViewPr>
  <p:slideViewPr>
    <p:cSldViewPr snapToGrid="0">
      <p:cViewPr varScale="1">
        <p:scale>
          <a:sx n="43" d="100"/>
          <a:sy n="43" d="100"/>
        </p:scale>
        <p:origin x="944" y="40"/>
      </p:cViewPr>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tags" Target="tags/tag1.xml"/><Relationship Id="rId68"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notesMaster" Target="notesMasters/notesMaster1.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commentAuthors" Target="commentAuthors.xml"/><Relationship Id="rId69" Type="http://schemas.microsoft.com/office/2018/10/relationships/authors" Target="author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theme" Target="theme/theme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28/03/2025</a:t>
            </a:fld>
            <a:endParaRPr lang="en-GB">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28/03/2025</a:t>
            </a:fld>
            <a:endParaRPr lang="en-GB"/>
          </a:p>
        </p:txBody>
      </p:sp>
      <p:sp>
        <p:nvSpPr>
          <p:cNvPr id="4" name="Slide Image Placeholder 3"/>
          <p:cNvSpPr>
            <a:spLocks noGrp="1" noRot="1" noChangeAspect="1"/>
          </p:cNvSpPr>
          <p:nvPr>
            <p:ph type="sldImg" idx="2"/>
          </p:nvPr>
        </p:nvSpPr>
        <p:spPr>
          <a:xfrm>
            <a:off x="395288" y="692150"/>
            <a:ext cx="6159500" cy="3463925"/>
          </a:xfrm>
          <a:prstGeom prst="rect">
            <a:avLst/>
          </a:prstGeom>
          <a:noFill/>
          <a:ln w="12700">
            <a:solidFill>
              <a:prstClr val="black"/>
            </a:solidFill>
          </a:ln>
        </p:spPr>
        <p:txBody>
          <a:bodyPr vert="horz" lIns="92492" tIns="46246" rIns="92492" bIns="46246" rtlCol="0" anchor="ctr"/>
          <a:lstStyle/>
          <a:p>
            <a:endParaRPr lang="en-GB"/>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5"/>
          </p:nvPr>
        </p:nvSpPr>
        <p:spPr/>
        <p:txBody>
          <a:bodyPr/>
          <a:lstStyle/>
          <a:p>
            <a:fld id="{5B43D19E-BFDB-4C92-8EDD-32EDDA8F41DF}" type="slidenum">
              <a:rPr lang="en-GB" smtClean="0"/>
              <a:pPr/>
              <a:t>1</a:t>
            </a:fld>
            <a:endParaRPr lang="en-GB"/>
          </a:p>
        </p:txBody>
      </p:sp>
    </p:spTree>
    <p:extLst>
      <p:ext uri="{BB962C8B-B14F-4D97-AF65-F5344CB8AC3E}">
        <p14:creationId xmlns:p14="http://schemas.microsoft.com/office/powerpoint/2010/main" val="26998784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F87380C-4E70-D837-127F-BBBE0B6C37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EC1386-2393-5B54-89F9-BB3698AF8E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D6F131E-0F16-C8FF-4085-13B3BC3EC992}"/>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4E4E5911-D784-D8CC-30D9-F67FB3923C28}"/>
              </a:ext>
            </a:extLst>
          </p:cNvPr>
          <p:cNvSpPr>
            <a:spLocks noGrp="1"/>
          </p:cNvSpPr>
          <p:nvPr>
            <p:ph type="sldNum" sz="quarter" idx="5"/>
          </p:nvPr>
        </p:nvSpPr>
        <p:spPr/>
        <p:txBody>
          <a:bodyPr/>
          <a:lstStyle/>
          <a:p>
            <a:fld id="{5B43D19E-BFDB-4C92-8EDD-32EDDA8F41DF}" type="slidenum">
              <a:rPr lang="en-GB" smtClean="0"/>
              <a:pPr/>
              <a:t>17</a:t>
            </a:fld>
            <a:endParaRPr lang="en-GB"/>
          </a:p>
        </p:txBody>
      </p:sp>
    </p:spTree>
    <p:extLst>
      <p:ext uri="{BB962C8B-B14F-4D97-AF65-F5344CB8AC3E}">
        <p14:creationId xmlns:p14="http://schemas.microsoft.com/office/powerpoint/2010/main" val="32255523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94B4431-6717-4063-8C00-383BBCCBC22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4A5314-6746-0B13-8083-FFC1B9712C3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49BAAB-DD1D-F24B-4318-C47F2A89C8F0}"/>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69420BAA-77B7-6375-3323-C875AFC256A0}"/>
              </a:ext>
            </a:extLst>
          </p:cNvPr>
          <p:cNvSpPr>
            <a:spLocks noGrp="1"/>
          </p:cNvSpPr>
          <p:nvPr>
            <p:ph type="sldNum" sz="quarter" idx="5"/>
          </p:nvPr>
        </p:nvSpPr>
        <p:spPr/>
        <p:txBody>
          <a:bodyPr/>
          <a:lstStyle/>
          <a:p>
            <a:fld id="{5B43D19E-BFDB-4C92-8EDD-32EDDA8F41DF}" type="slidenum">
              <a:rPr lang="en-GB" smtClean="0"/>
              <a:pPr/>
              <a:t>18</a:t>
            </a:fld>
            <a:endParaRPr lang="en-GB"/>
          </a:p>
        </p:txBody>
      </p:sp>
    </p:spTree>
    <p:extLst>
      <p:ext uri="{BB962C8B-B14F-4D97-AF65-F5344CB8AC3E}">
        <p14:creationId xmlns:p14="http://schemas.microsoft.com/office/powerpoint/2010/main" val="22878070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B43306-F593-1B8F-78B4-B31EB2757A1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B2398BB-59F5-93CE-773E-9947551911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CBFD88-983F-5368-11AC-241DEE1170F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D5DACE5-4FD0-0E4E-4087-7347D549AE84}"/>
              </a:ext>
            </a:extLst>
          </p:cNvPr>
          <p:cNvSpPr>
            <a:spLocks noGrp="1"/>
          </p:cNvSpPr>
          <p:nvPr>
            <p:ph type="sldNum" sz="quarter" idx="5"/>
          </p:nvPr>
        </p:nvSpPr>
        <p:spPr/>
        <p:txBody>
          <a:bodyPr/>
          <a:lstStyle/>
          <a:p>
            <a:fld id="{5B43D19E-BFDB-4C92-8EDD-32EDDA8F41DF}" type="slidenum">
              <a:rPr lang="en-GB" smtClean="0"/>
              <a:pPr/>
              <a:t>19</a:t>
            </a:fld>
            <a:endParaRPr lang="en-GB"/>
          </a:p>
        </p:txBody>
      </p:sp>
    </p:spTree>
    <p:extLst>
      <p:ext uri="{BB962C8B-B14F-4D97-AF65-F5344CB8AC3E}">
        <p14:creationId xmlns:p14="http://schemas.microsoft.com/office/powerpoint/2010/main" val="160422659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1</a:t>
            </a:fld>
            <a:endParaRPr lang="en-GB"/>
          </a:p>
        </p:txBody>
      </p:sp>
    </p:spTree>
    <p:extLst>
      <p:ext uri="{BB962C8B-B14F-4D97-AF65-F5344CB8AC3E}">
        <p14:creationId xmlns:p14="http://schemas.microsoft.com/office/powerpoint/2010/main" val="13001074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85142C-E906-ACF7-30D6-C7A5A03FBCB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D699CF1-219F-371A-A017-9645A27791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1D369DA-02EF-49F6-7AD6-6DAE0FA17A39}"/>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a:extLst>
              <a:ext uri="{FF2B5EF4-FFF2-40B4-BE49-F238E27FC236}">
                <a16:creationId xmlns:a16="http://schemas.microsoft.com/office/drawing/2014/main" id="{2EEFFEF1-49A7-C45A-6BC9-B2C77BA29537}"/>
              </a:ext>
            </a:extLst>
          </p:cNvPr>
          <p:cNvSpPr>
            <a:spLocks noGrp="1"/>
          </p:cNvSpPr>
          <p:nvPr>
            <p:ph type="sldNum" sz="quarter" idx="5"/>
          </p:nvPr>
        </p:nvSpPr>
        <p:spPr/>
        <p:txBody>
          <a:bodyPr/>
          <a:lstStyle/>
          <a:p>
            <a:fld id="{5B43D19E-BFDB-4C92-8EDD-32EDDA8F41DF}" type="slidenum">
              <a:rPr lang="en-GB" smtClean="0"/>
              <a:pPr/>
              <a:t>22</a:t>
            </a:fld>
            <a:endParaRPr lang="en-GB"/>
          </a:p>
        </p:txBody>
      </p:sp>
    </p:spTree>
    <p:extLst>
      <p:ext uri="{BB962C8B-B14F-4D97-AF65-F5344CB8AC3E}">
        <p14:creationId xmlns:p14="http://schemas.microsoft.com/office/powerpoint/2010/main" val="13317572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55B6E21-E1BE-EFF7-3F77-48D26D9CB4B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E8B5C1D-EA21-10DD-D0E3-E441E42096D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86DB48-8AAB-703F-6ADE-BB576E7508CB}"/>
              </a:ext>
            </a:extLst>
          </p:cNvPr>
          <p:cNvSpPr>
            <a:spLocks noGrp="1"/>
          </p:cNvSpPr>
          <p:nvPr>
            <p:ph type="body" idx="1"/>
          </p:nvPr>
        </p:nvSpPr>
        <p:spPr/>
        <p:txBody>
          <a:bodyPr>
            <a:normAutofit fontScale="47500" lnSpcReduction="20000"/>
          </a:bodyPr>
          <a:lstStyle/>
          <a:p>
            <a:pPr marL="0" indent="0" algn="l">
              <a:spcAft>
                <a:spcPts val="1500"/>
              </a:spcAft>
              <a:buFont typeface="Arial" panose="020B0604020202020204" pitchFamily="34" charset="0"/>
              <a:buNone/>
            </a:pPr>
            <a:endParaRPr lang="en-US" b="0" i="0" dirty="0">
              <a:solidFill>
                <a:srgbClr val="000000"/>
              </a:solidFill>
              <a:effectLst/>
              <a:latin typeface="-apple-system"/>
            </a:endParaRPr>
          </a:p>
        </p:txBody>
      </p:sp>
      <p:sp>
        <p:nvSpPr>
          <p:cNvPr id="4" name="Slide Number Placeholder 3">
            <a:extLst>
              <a:ext uri="{FF2B5EF4-FFF2-40B4-BE49-F238E27FC236}">
                <a16:creationId xmlns:a16="http://schemas.microsoft.com/office/drawing/2014/main" id="{70F5B5AD-2985-A90A-D5E2-719D5FA88E8F}"/>
              </a:ext>
            </a:extLst>
          </p:cNvPr>
          <p:cNvSpPr>
            <a:spLocks noGrp="1"/>
          </p:cNvSpPr>
          <p:nvPr>
            <p:ph type="sldNum" sz="quarter" idx="5"/>
          </p:nvPr>
        </p:nvSpPr>
        <p:spPr/>
        <p:txBody>
          <a:bodyPr/>
          <a:lstStyle/>
          <a:p>
            <a:fld id="{5B43D19E-BFDB-4C92-8EDD-32EDDA8F41DF}" type="slidenum">
              <a:rPr lang="en-GB" smtClean="0"/>
              <a:pPr/>
              <a:t>23</a:t>
            </a:fld>
            <a:endParaRPr lang="en-GB"/>
          </a:p>
        </p:txBody>
      </p:sp>
    </p:spTree>
    <p:extLst>
      <p:ext uri="{BB962C8B-B14F-4D97-AF65-F5344CB8AC3E}">
        <p14:creationId xmlns:p14="http://schemas.microsoft.com/office/powerpoint/2010/main" val="5689202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25</a:t>
            </a:fld>
            <a:endParaRPr lang="en-GB"/>
          </a:p>
        </p:txBody>
      </p:sp>
    </p:spTree>
    <p:extLst>
      <p:ext uri="{BB962C8B-B14F-4D97-AF65-F5344CB8AC3E}">
        <p14:creationId xmlns:p14="http://schemas.microsoft.com/office/powerpoint/2010/main" val="306503306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6D16B6-73A2-D927-FFBA-4F0CA67802A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F8D5000-1DA7-B390-EE64-0CFBA2B66C1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B65CD92-D010-7427-9A9E-1E82751E4562}"/>
              </a:ext>
            </a:extLst>
          </p:cNvPr>
          <p:cNvSpPr>
            <a:spLocks noGrp="1"/>
          </p:cNvSpPr>
          <p:nvPr>
            <p:ph type="body" idx="1"/>
          </p:nvPr>
        </p:nvSpPr>
        <p:spPr/>
        <p:txBody>
          <a:bodyPr>
            <a:normAutofit fontScale="92500"/>
          </a:bodyPr>
          <a:lstStyle/>
          <a:p>
            <a:pPr marL="457200" lvl="1" indent="0">
              <a:buFont typeface="Arial" panose="020B0604020202020204" pitchFamily="34" charset="0"/>
              <a:buNone/>
            </a:pPr>
            <a:endParaRPr lang="en-US" dirty="0"/>
          </a:p>
          <a:p>
            <a:pPr marL="728694">
              <a:spcBef>
                <a:spcPts val="0"/>
              </a:spcBef>
              <a:spcAft>
                <a:spcPts val="0"/>
              </a:spcAft>
            </a:pPr>
            <a:endParaRPr lang="en-IN" dirty="0"/>
          </a:p>
          <a:p>
            <a:pPr marL="1076166">
              <a:spcBef>
                <a:spcPts val="0"/>
              </a:spcBef>
              <a:spcAft>
                <a:spcPts val="0"/>
              </a:spcAft>
            </a:pPr>
            <a:endParaRPr lang="en-US" dirty="0"/>
          </a:p>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89937166-76DD-B564-C36D-27FBB097A29E}"/>
              </a:ext>
            </a:extLst>
          </p:cNvPr>
          <p:cNvSpPr>
            <a:spLocks noGrp="1"/>
          </p:cNvSpPr>
          <p:nvPr>
            <p:ph type="sldNum" sz="quarter" idx="5"/>
          </p:nvPr>
        </p:nvSpPr>
        <p:spPr/>
        <p:txBody>
          <a:bodyPr/>
          <a:lstStyle/>
          <a:p>
            <a:fld id="{5B43D19E-BFDB-4C92-8EDD-32EDDA8F41DF}" type="slidenum">
              <a:rPr lang="en-GB" smtClean="0"/>
              <a:pPr/>
              <a:t>27</a:t>
            </a:fld>
            <a:endParaRPr lang="en-GB"/>
          </a:p>
        </p:txBody>
      </p:sp>
    </p:spTree>
    <p:extLst>
      <p:ext uri="{BB962C8B-B14F-4D97-AF65-F5344CB8AC3E}">
        <p14:creationId xmlns:p14="http://schemas.microsoft.com/office/powerpoint/2010/main" val="3252790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949055-86CB-B7CC-BC63-3EF77147D67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954814-3439-BB3A-0A81-565128AF898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6DA0277-B65C-12A5-89A6-BB920AB17E9C}"/>
              </a:ext>
            </a:extLst>
          </p:cNvPr>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IN" dirty="0"/>
          </a:p>
          <a:p>
            <a:pPr marL="628650" lvl="1"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CC45EDC8-95CA-8E39-765E-E24643DD5260}"/>
              </a:ext>
            </a:extLst>
          </p:cNvPr>
          <p:cNvSpPr>
            <a:spLocks noGrp="1"/>
          </p:cNvSpPr>
          <p:nvPr>
            <p:ph type="sldNum" sz="quarter" idx="5"/>
          </p:nvPr>
        </p:nvSpPr>
        <p:spPr/>
        <p:txBody>
          <a:bodyPr/>
          <a:lstStyle/>
          <a:p>
            <a:fld id="{5B43D19E-BFDB-4C92-8EDD-32EDDA8F41DF}" type="slidenum">
              <a:rPr lang="en-GB" smtClean="0"/>
              <a:pPr/>
              <a:t>28</a:t>
            </a:fld>
            <a:endParaRPr lang="en-GB"/>
          </a:p>
        </p:txBody>
      </p:sp>
    </p:spTree>
    <p:extLst>
      <p:ext uri="{BB962C8B-B14F-4D97-AF65-F5344CB8AC3E}">
        <p14:creationId xmlns:p14="http://schemas.microsoft.com/office/powerpoint/2010/main" val="6588989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EC8CE2-73CE-322D-2CF0-DBE436B8015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86A44E4-F29C-F077-903F-92EC4056F0E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AC02CF5-64B8-6D36-D55B-A65AFC0EDC8E}"/>
              </a:ext>
            </a:extLst>
          </p:cNvPr>
          <p:cNvSpPr>
            <a:spLocks noGrp="1"/>
          </p:cNvSpPr>
          <p:nvPr>
            <p:ph type="body" idx="1"/>
          </p:nvPr>
        </p:nvSpPr>
        <p:spPr/>
        <p:txBody>
          <a:bodyPr>
            <a:normAutofit fontScale="70000" lnSpcReduction="20000"/>
          </a:bodyPr>
          <a:lstStyle/>
          <a:p>
            <a:pPr marL="457200" lvl="1" indent="0">
              <a:buFont typeface="Arial" panose="020B0604020202020204" pitchFamily="34" charset="0"/>
              <a:buNone/>
            </a:pPr>
            <a:endParaRPr lang="en-US" dirty="0"/>
          </a:p>
          <a:p>
            <a:pPr marL="628650" lvl="1"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16E94CA7-1105-E073-255F-0C53A039EA3F}"/>
              </a:ext>
            </a:extLst>
          </p:cNvPr>
          <p:cNvSpPr>
            <a:spLocks noGrp="1"/>
          </p:cNvSpPr>
          <p:nvPr>
            <p:ph type="sldNum" sz="quarter" idx="5"/>
          </p:nvPr>
        </p:nvSpPr>
        <p:spPr/>
        <p:txBody>
          <a:bodyPr/>
          <a:lstStyle/>
          <a:p>
            <a:fld id="{5B43D19E-BFDB-4C92-8EDD-32EDDA8F41DF}" type="slidenum">
              <a:rPr lang="en-GB" smtClean="0"/>
              <a:pPr/>
              <a:t>29</a:t>
            </a:fld>
            <a:endParaRPr lang="en-GB"/>
          </a:p>
        </p:txBody>
      </p:sp>
    </p:spTree>
    <p:extLst>
      <p:ext uri="{BB962C8B-B14F-4D97-AF65-F5344CB8AC3E}">
        <p14:creationId xmlns:p14="http://schemas.microsoft.com/office/powerpoint/2010/main" val="42654748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p:cNvSpPr>
            <a:spLocks noGrp="1"/>
          </p:cNvSpPr>
          <p:nvPr>
            <p:ph type="sldNum" sz="quarter" idx="5"/>
          </p:nvPr>
        </p:nvSpPr>
        <p:spPr/>
        <p:txBody>
          <a:bodyPr/>
          <a:lstStyle/>
          <a:p>
            <a:fld id="{5B43D19E-BFDB-4C92-8EDD-32EDDA8F41DF}" type="slidenum">
              <a:rPr lang="en-GB" smtClean="0"/>
              <a:pPr/>
              <a:t>4</a:t>
            </a:fld>
            <a:endParaRPr lang="en-GB"/>
          </a:p>
        </p:txBody>
      </p:sp>
    </p:spTree>
    <p:extLst>
      <p:ext uri="{BB962C8B-B14F-4D97-AF65-F5344CB8AC3E}">
        <p14:creationId xmlns:p14="http://schemas.microsoft.com/office/powerpoint/2010/main" val="20476397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C3EE63-B86E-2F18-EFFB-F4F47E564EC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326BCDF-74B5-1611-EA4D-FA464AEFCE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C43E1F8-E970-32CC-2FC9-4CFBA38EF4A0}"/>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8AEDFC9A-35E8-D31C-F131-707E61531D5F}"/>
              </a:ext>
            </a:extLst>
          </p:cNvPr>
          <p:cNvSpPr>
            <a:spLocks noGrp="1"/>
          </p:cNvSpPr>
          <p:nvPr>
            <p:ph type="sldNum" sz="quarter" idx="5"/>
          </p:nvPr>
        </p:nvSpPr>
        <p:spPr/>
        <p:txBody>
          <a:bodyPr/>
          <a:lstStyle/>
          <a:p>
            <a:fld id="{5B43D19E-BFDB-4C92-8EDD-32EDDA8F41DF}" type="slidenum">
              <a:rPr lang="en-GB" smtClean="0"/>
              <a:pPr/>
              <a:t>30</a:t>
            </a:fld>
            <a:endParaRPr lang="en-GB"/>
          </a:p>
        </p:txBody>
      </p:sp>
    </p:spTree>
    <p:extLst>
      <p:ext uri="{BB962C8B-B14F-4D97-AF65-F5344CB8AC3E}">
        <p14:creationId xmlns:p14="http://schemas.microsoft.com/office/powerpoint/2010/main" val="57074546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31</a:t>
            </a:fld>
            <a:endParaRPr lang="en-GB"/>
          </a:p>
        </p:txBody>
      </p:sp>
    </p:spTree>
    <p:extLst>
      <p:ext uri="{BB962C8B-B14F-4D97-AF65-F5344CB8AC3E}">
        <p14:creationId xmlns:p14="http://schemas.microsoft.com/office/powerpoint/2010/main" val="18895575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632B59-A1C2-996A-4416-27B951D041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120FED-203E-6336-1269-F616EED436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26D0FCD-8DC5-CDCF-579D-597175107B66}"/>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E1119CCC-D768-7BA5-EC40-70D16E8CE8F6}"/>
              </a:ext>
            </a:extLst>
          </p:cNvPr>
          <p:cNvSpPr>
            <a:spLocks noGrp="1"/>
          </p:cNvSpPr>
          <p:nvPr>
            <p:ph type="sldNum" sz="quarter" idx="5"/>
          </p:nvPr>
        </p:nvSpPr>
        <p:spPr/>
        <p:txBody>
          <a:bodyPr/>
          <a:lstStyle/>
          <a:p>
            <a:fld id="{5B43D19E-BFDB-4C92-8EDD-32EDDA8F41DF}" type="slidenum">
              <a:rPr lang="en-GB" smtClean="0"/>
              <a:pPr/>
              <a:t>32</a:t>
            </a:fld>
            <a:endParaRPr lang="en-GB"/>
          </a:p>
        </p:txBody>
      </p:sp>
    </p:spTree>
    <p:extLst>
      <p:ext uri="{BB962C8B-B14F-4D97-AF65-F5344CB8AC3E}">
        <p14:creationId xmlns:p14="http://schemas.microsoft.com/office/powerpoint/2010/main" val="41474015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F0DA27-9871-CD4E-245B-E3E1B37DA78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0B6B672-8028-7114-E16A-00342A9F950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FB3C289-DA23-CAF8-B1F0-CC8B3151679A}"/>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A635F2AB-C1F6-87F4-A249-E515277A4489}"/>
              </a:ext>
            </a:extLst>
          </p:cNvPr>
          <p:cNvSpPr>
            <a:spLocks noGrp="1"/>
          </p:cNvSpPr>
          <p:nvPr>
            <p:ph type="sldNum" sz="quarter" idx="5"/>
          </p:nvPr>
        </p:nvSpPr>
        <p:spPr/>
        <p:txBody>
          <a:bodyPr/>
          <a:lstStyle/>
          <a:p>
            <a:fld id="{5B43D19E-BFDB-4C92-8EDD-32EDDA8F41DF}" type="slidenum">
              <a:rPr lang="en-GB" smtClean="0"/>
              <a:pPr/>
              <a:t>33</a:t>
            </a:fld>
            <a:endParaRPr lang="en-GB"/>
          </a:p>
        </p:txBody>
      </p:sp>
    </p:spTree>
    <p:extLst>
      <p:ext uri="{BB962C8B-B14F-4D97-AF65-F5344CB8AC3E}">
        <p14:creationId xmlns:p14="http://schemas.microsoft.com/office/powerpoint/2010/main" val="23062206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C0D455-3572-37F9-8106-983F8E77FCD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8AFFD89-F581-1108-269A-947C2F5D47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CD2A48A-E1C0-ED6A-8827-BE95E037BCBA}"/>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3D51CD14-913C-76EC-E470-4A7DBDE423AA}"/>
              </a:ext>
            </a:extLst>
          </p:cNvPr>
          <p:cNvSpPr>
            <a:spLocks noGrp="1"/>
          </p:cNvSpPr>
          <p:nvPr>
            <p:ph type="sldNum" sz="quarter" idx="5"/>
          </p:nvPr>
        </p:nvSpPr>
        <p:spPr/>
        <p:txBody>
          <a:bodyPr/>
          <a:lstStyle/>
          <a:p>
            <a:fld id="{5B43D19E-BFDB-4C92-8EDD-32EDDA8F41DF}" type="slidenum">
              <a:rPr lang="en-GB" smtClean="0"/>
              <a:pPr/>
              <a:t>34</a:t>
            </a:fld>
            <a:endParaRPr lang="en-GB"/>
          </a:p>
        </p:txBody>
      </p:sp>
    </p:spTree>
    <p:extLst>
      <p:ext uri="{BB962C8B-B14F-4D97-AF65-F5344CB8AC3E}">
        <p14:creationId xmlns:p14="http://schemas.microsoft.com/office/powerpoint/2010/main" val="36754968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515F44-270C-62B1-5AAE-C427A4FB2B2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1D83224-7635-FA44-972F-1F8461D43C9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A4BFC35-9153-46E8-D463-4C5D47090615}"/>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4CC17A0C-0055-EA56-AECB-F70BA8BBAAA3}"/>
              </a:ext>
            </a:extLst>
          </p:cNvPr>
          <p:cNvSpPr>
            <a:spLocks noGrp="1"/>
          </p:cNvSpPr>
          <p:nvPr>
            <p:ph type="sldNum" sz="quarter" idx="5"/>
          </p:nvPr>
        </p:nvSpPr>
        <p:spPr/>
        <p:txBody>
          <a:bodyPr/>
          <a:lstStyle/>
          <a:p>
            <a:fld id="{5B43D19E-BFDB-4C92-8EDD-32EDDA8F41DF}" type="slidenum">
              <a:rPr lang="en-GB" smtClean="0"/>
              <a:pPr/>
              <a:t>35</a:t>
            </a:fld>
            <a:endParaRPr lang="en-GB"/>
          </a:p>
        </p:txBody>
      </p:sp>
    </p:spTree>
    <p:extLst>
      <p:ext uri="{BB962C8B-B14F-4D97-AF65-F5344CB8AC3E}">
        <p14:creationId xmlns:p14="http://schemas.microsoft.com/office/powerpoint/2010/main" val="3898607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798C23-B0D9-B7F5-3090-6BE5E3A5581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DCB1E88-AFBA-EA07-74D4-117EAE10469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A6123D-57B8-14A9-D4FC-AEB5327F6A4D}"/>
              </a:ext>
            </a:extLst>
          </p:cNvPr>
          <p:cNvSpPr>
            <a:spLocks noGrp="1"/>
          </p:cNvSpPr>
          <p:nvPr>
            <p:ph type="body" idx="1"/>
          </p:nvPr>
        </p:nvSpPr>
        <p:spPr/>
        <p:txBody>
          <a:bodyPr>
            <a:normAutofit fontScale="85000" lnSpcReduction="20000"/>
          </a:bodyPr>
          <a:lstStyle/>
          <a:p>
            <a:pPr marL="171450" indent="-171450">
              <a:buFont typeface="Arial" panose="020B0604020202020204" pitchFamily="34" charset="0"/>
              <a:buChar char="•"/>
            </a:pPr>
            <a:endParaRPr lang="en-US" dirty="0"/>
          </a:p>
        </p:txBody>
      </p:sp>
      <p:sp>
        <p:nvSpPr>
          <p:cNvPr id="4" name="Slide Number Placeholder 3">
            <a:extLst>
              <a:ext uri="{FF2B5EF4-FFF2-40B4-BE49-F238E27FC236}">
                <a16:creationId xmlns:a16="http://schemas.microsoft.com/office/drawing/2014/main" id="{4914F6DC-33EE-EF37-2CF1-27723AEC5F72}"/>
              </a:ext>
            </a:extLst>
          </p:cNvPr>
          <p:cNvSpPr>
            <a:spLocks noGrp="1"/>
          </p:cNvSpPr>
          <p:nvPr>
            <p:ph type="sldNum" sz="quarter" idx="5"/>
          </p:nvPr>
        </p:nvSpPr>
        <p:spPr/>
        <p:txBody>
          <a:bodyPr/>
          <a:lstStyle/>
          <a:p>
            <a:fld id="{5B43D19E-BFDB-4C92-8EDD-32EDDA8F41DF}" type="slidenum">
              <a:rPr lang="en-GB" smtClean="0"/>
              <a:pPr/>
              <a:t>36</a:t>
            </a:fld>
            <a:endParaRPr lang="en-GB"/>
          </a:p>
        </p:txBody>
      </p:sp>
    </p:spTree>
    <p:extLst>
      <p:ext uri="{BB962C8B-B14F-4D97-AF65-F5344CB8AC3E}">
        <p14:creationId xmlns:p14="http://schemas.microsoft.com/office/powerpoint/2010/main" val="252213565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C1E2429-64D8-E2F7-E7B7-EC078ADDC5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142BE76-AF12-ACC4-BD9A-84214F200F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6540D3-FBC0-58DC-36D2-9673BD65CCD5}"/>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155985E0-97EB-2F15-EB7D-8D92A181731A}"/>
              </a:ext>
            </a:extLst>
          </p:cNvPr>
          <p:cNvSpPr>
            <a:spLocks noGrp="1"/>
          </p:cNvSpPr>
          <p:nvPr>
            <p:ph type="sldNum" sz="quarter" idx="5"/>
          </p:nvPr>
        </p:nvSpPr>
        <p:spPr/>
        <p:txBody>
          <a:bodyPr/>
          <a:lstStyle/>
          <a:p>
            <a:fld id="{5B43D19E-BFDB-4C92-8EDD-32EDDA8F41DF}" type="slidenum">
              <a:rPr lang="en-GB" smtClean="0"/>
              <a:pPr/>
              <a:t>37</a:t>
            </a:fld>
            <a:endParaRPr lang="en-GB"/>
          </a:p>
        </p:txBody>
      </p:sp>
    </p:spTree>
    <p:extLst>
      <p:ext uri="{BB962C8B-B14F-4D97-AF65-F5344CB8AC3E}">
        <p14:creationId xmlns:p14="http://schemas.microsoft.com/office/powerpoint/2010/main" val="401578195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C4757F-9B24-3642-61CB-A571E129B5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23354F9-C2A3-BB8F-E9C3-38C7E4935ED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DFBFA46-9B46-81AB-C4AC-6D0B1F8FFD32}"/>
              </a:ext>
            </a:extLst>
          </p:cNvPr>
          <p:cNvSpPr>
            <a:spLocks noGrp="1"/>
          </p:cNvSpPr>
          <p:nvPr>
            <p:ph type="body" idx="1"/>
          </p:nvPr>
        </p:nvSpPr>
        <p:spPr/>
        <p:txBody>
          <a:bodyPr>
            <a:normAutofit/>
          </a:bodyPr>
          <a:lstStyle/>
          <a:p>
            <a:endParaRPr lang="en-IN" dirty="0"/>
          </a:p>
        </p:txBody>
      </p:sp>
      <p:sp>
        <p:nvSpPr>
          <p:cNvPr id="4" name="Slide Number Placeholder 3">
            <a:extLst>
              <a:ext uri="{FF2B5EF4-FFF2-40B4-BE49-F238E27FC236}">
                <a16:creationId xmlns:a16="http://schemas.microsoft.com/office/drawing/2014/main" id="{ED6CDF15-5B09-5C08-DEDC-B61B109D45FF}"/>
              </a:ext>
            </a:extLst>
          </p:cNvPr>
          <p:cNvSpPr>
            <a:spLocks noGrp="1"/>
          </p:cNvSpPr>
          <p:nvPr>
            <p:ph type="sldNum" sz="quarter" idx="5"/>
          </p:nvPr>
        </p:nvSpPr>
        <p:spPr/>
        <p:txBody>
          <a:bodyPr/>
          <a:lstStyle/>
          <a:p>
            <a:fld id="{5B43D19E-BFDB-4C92-8EDD-32EDDA8F41DF}" type="slidenum">
              <a:rPr lang="en-GB" smtClean="0"/>
              <a:pPr/>
              <a:t>38</a:t>
            </a:fld>
            <a:endParaRPr lang="en-GB"/>
          </a:p>
        </p:txBody>
      </p:sp>
    </p:spTree>
    <p:extLst>
      <p:ext uri="{BB962C8B-B14F-4D97-AF65-F5344CB8AC3E}">
        <p14:creationId xmlns:p14="http://schemas.microsoft.com/office/powerpoint/2010/main" val="30987877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B3088F-6B37-5D91-F0F1-1E83A238AB7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8A79FD5-5A37-9020-D5F2-20D83276A4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B823978-5173-53BC-AAC0-F52AFC34E4E3}"/>
              </a:ext>
            </a:extLst>
          </p:cNvPr>
          <p:cNvSpPr>
            <a:spLocks noGrp="1"/>
          </p:cNvSpPr>
          <p:nvPr>
            <p:ph type="body" idx="1"/>
          </p:nvPr>
        </p:nvSpPr>
        <p:spPr/>
        <p:txBody>
          <a:bodyPr>
            <a:normAutofit/>
          </a:bodyPr>
          <a:lstStyle/>
          <a:p>
            <a:endParaRPr lang="en-IN" dirty="0"/>
          </a:p>
        </p:txBody>
      </p:sp>
      <p:sp>
        <p:nvSpPr>
          <p:cNvPr id="4" name="Slide Number Placeholder 3">
            <a:extLst>
              <a:ext uri="{FF2B5EF4-FFF2-40B4-BE49-F238E27FC236}">
                <a16:creationId xmlns:a16="http://schemas.microsoft.com/office/drawing/2014/main" id="{FDBA06CE-3B32-38E4-5E80-9C598596CF21}"/>
              </a:ext>
            </a:extLst>
          </p:cNvPr>
          <p:cNvSpPr>
            <a:spLocks noGrp="1"/>
          </p:cNvSpPr>
          <p:nvPr>
            <p:ph type="sldNum" sz="quarter" idx="5"/>
          </p:nvPr>
        </p:nvSpPr>
        <p:spPr/>
        <p:txBody>
          <a:bodyPr/>
          <a:lstStyle/>
          <a:p>
            <a:fld id="{5B43D19E-BFDB-4C92-8EDD-32EDDA8F41DF}" type="slidenum">
              <a:rPr lang="en-GB" smtClean="0"/>
              <a:pPr/>
              <a:t>39</a:t>
            </a:fld>
            <a:endParaRPr lang="en-GB"/>
          </a:p>
        </p:txBody>
      </p:sp>
    </p:spTree>
    <p:extLst>
      <p:ext uri="{BB962C8B-B14F-4D97-AF65-F5344CB8AC3E}">
        <p14:creationId xmlns:p14="http://schemas.microsoft.com/office/powerpoint/2010/main" val="9315791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A4444C-2040-15FC-F13D-68B6B001B31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92EE02A-ABE9-AECF-0618-E4DFB34F36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1D894A2-4801-DCBB-9AAE-53F503604FA8}"/>
              </a:ext>
            </a:extLst>
          </p:cNvPr>
          <p:cNvSpPr>
            <a:spLocks noGrp="1"/>
          </p:cNvSpPr>
          <p:nvPr>
            <p:ph type="body" idx="1"/>
          </p:nvPr>
        </p:nvSpPr>
        <p:spPr/>
        <p:txBody>
          <a:bodyPr/>
          <a:lstStyle/>
          <a:p>
            <a:endParaRPr lang="en-US" dirty="0">
              <a:latin typeface="Calibri"/>
              <a:ea typeface="Calibri"/>
              <a:cs typeface="Calibri"/>
            </a:endParaRPr>
          </a:p>
        </p:txBody>
      </p:sp>
      <p:sp>
        <p:nvSpPr>
          <p:cNvPr id="4" name="Slide Number Placeholder 3">
            <a:extLst>
              <a:ext uri="{FF2B5EF4-FFF2-40B4-BE49-F238E27FC236}">
                <a16:creationId xmlns:a16="http://schemas.microsoft.com/office/drawing/2014/main" id="{D8304DC7-E328-76A6-9303-A9EF265516F5}"/>
              </a:ext>
            </a:extLst>
          </p:cNvPr>
          <p:cNvSpPr>
            <a:spLocks noGrp="1"/>
          </p:cNvSpPr>
          <p:nvPr>
            <p:ph type="sldNum" sz="quarter" idx="5"/>
          </p:nvPr>
        </p:nvSpPr>
        <p:spPr/>
        <p:txBody>
          <a:bodyPr/>
          <a:lstStyle/>
          <a:p>
            <a:fld id="{5B43D19E-BFDB-4C92-8EDD-32EDDA8F41DF}" type="slidenum">
              <a:rPr lang="en-GB" smtClean="0"/>
              <a:pPr/>
              <a:t>9</a:t>
            </a:fld>
            <a:endParaRPr lang="en-GB"/>
          </a:p>
        </p:txBody>
      </p:sp>
    </p:spTree>
    <p:extLst>
      <p:ext uri="{BB962C8B-B14F-4D97-AF65-F5344CB8AC3E}">
        <p14:creationId xmlns:p14="http://schemas.microsoft.com/office/powerpoint/2010/main" val="10151833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7F4B49C-9A66-D8E9-129F-E80B80081AA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2662CAD-81AB-C2DC-CEA3-C38ACA842CF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DE30F0-92B7-1AA8-8F92-AE72A4F9677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9665411E-762D-3292-D179-C593E1A3C0B3}"/>
              </a:ext>
            </a:extLst>
          </p:cNvPr>
          <p:cNvSpPr>
            <a:spLocks noGrp="1"/>
          </p:cNvSpPr>
          <p:nvPr>
            <p:ph type="sldNum" sz="quarter" idx="5"/>
          </p:nvPr>
        </p:nvSpPr>
        <p:spPr/>
        <p:txBody>
          <a:bodyPr/>
          <a:lstStyle/>
          <a:p>
            <a:fld id="{5B43D19E-BFDB-4C92-8EDD-32EDDA8F41DF}" type="slidenum">
              <a:rPr lang="en-GB" smtClean="0"/>
              <a:pPr/>
              <a:t>40</a:t>
            </a:fld>
            <a:endParaRPr lang="en-GB"/>
          </a:p>
        </p:txBody>
      </p:sp>
    </p:spTree>
    <p:extLst>
      <p:ext uri="{BB962C8B-B14F-4D97-AF65-F5344CB8AC3E}">
        <p14:creationId xmlns:p14="http://schemas.microsoft.com/office/powerpoint/2010/main" val="176564143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753DD8-8BA0-274A-4792-0D0686D10D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7574FB-88BF-6728-AB57-57BDCA5F2D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D8F8D93-C2B9-46CC-12E0-1838CF63128A}"/>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4C1D1198-3D1A-D3ED-1838-A47BEDB913FC}"/>
              </a:ext>
            </a:extLst>
          </p:cNvPr>
          <p:cNvSpPr>
            <a:spLocks noGrp="1"/>
          </p:cNvSpPr>
          <p:nvPr>
            <p:ph type="sldNum" sz="quarter" idx="5"/>
          </p:nvPr>
        </p:nvSpPr>
        <p:spPr/>
        <p:txBody>
          <a:bodyPr/>
          <a:lstStyle/>
          <a:p>
            <a:fld id="{5B43D19E-BFDB-4C92-8EDD-32EDDA8F41DF}" type="slidenum">
              <a:rPr lang="en-GB" smtClean="0"/>
              <a:pPr/>
              <a:t>41</a:t>
            </a:fld>
            <a:endParaRPr lang="en-GB"/>
          </a:p>
        </p:txBody>
      </p:sp>
    </p:spTree>
    <p:extLst>
      <p:ext uri="{BB962C8B-B14F-4D97-AF65-F5344CB8AC3E}">
        <p14:creationId xmlns:p14="http://schemas.microsoft.com/office/powerpoint/2010/main" val="28109670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A83E975-9A57-5431-E654-4E231EC075C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E56503-B316-F8E1-7F70-4672F111BE9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9B15770-2646-0E59-B9E7-C220DD8F3D40}"/>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78102E0F-A8E0-6580-7042-749E52E2D53B}"/>
              </a:ext>
            </a:extLst>
          </p:cNvPr>
          <p:cNvSpPr>
            <a:spLocks noGrp="1"/>
          </p:cNvSpPr>
          <p:nvPr>
            <p:ph type="sldNum" sz="quarter" idx="5"/>
          </p:nvPr>
        </p:nvSpPr>
        <p:spPr/>
        <p:txBody>
          <a:bodyPr/>
          <a:lstStyle/>
          <a:p>
            <a:fld id="{5B43D19E-BFDB-4C92-8EDD-32EDDA8F41DF}" type="slidenum">
              <a:rPr lang="en-GB" smtClean="0"/>
              <a:pPr/>
              <a:t>42</a:t>
            </a:fld>
            <a:endParaRPr lang="en-GB"/>
          </a:p>
        </p:txBody>
      </p:sp>
    </p:spTree>
    <p:extLst>
      <p:ext uri="{BB962C8B-B14F-4D97-AF65-F5344CB8AC3E}">
        <p14:creationId xmlns:p14="http://schemas.microsoft.com/office/powerpoint/2010/main" val="301464737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91BBEF-FCA0-4940-90B8-66C9FD476BE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1FA12C4-E848-13E0-8635-C2CFFFAC5D6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E6A4738-9108-F400-8DBB-72509F65E3D1}"/>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091E6505-6F56-22DB-02D5-6782615E5C64}"/>
              </a:ext>
            </a:extLst>
          </p:cNvPr>
          <p:cNvSpPr>
            <a:spLocks noGrp="1"/>
          </p:cNvSpPr>
          <p:nvPr>
            <p:ph type="sldNum" sz="quarter" idx="5"/>
          </p:nvPr>
        </p:nvSpPr>
        <p:spPr/>
        <p:txBody>
          <a:bodyPr/>
          <a:lstStyle/>
          <a:p>
            <a:fld id="{5B43D19E-BFDB-4C92-8EDD-32EDDA8F41DF}" type="slidenum">
              <a:rPr lang="en-GB" smtClean="0"/>
              <a:pPr/>
              <a:t>43</a:t>
            </a:fld>
            <a:endParaRPr lang="en-GB"/>
          </a:p>
        </p:txBody>
      </p:sp>
    </p:spTree>
    <p:extLst>
      <p:ext uri="{BB962C8B-B14F-4D97-AF65-F5344CB8AC3E}">
        <p14:creationId xmlns:p14="http://schemas.microsoft.com/office/powerpoint/2010/main" val="2298126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BC3D51F-DCAA-E08D-0FEE-8883A6E45D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3C0EEC2-EBFB-9185-49C0-DBFE1D5F4E7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76F664B-A728-2C70-C887-20CE75BAC873}"/>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C17126FF-42EB-6AA3-6D0B-F3EFE01E3AD3}"/>
              </a:ext>
            </a:extLst>
          </p:cNvPr>
          <p:cNvSpPr>
            <a:spLocks noGrp="1"/>
          </p:cNvSpPr>
          <p:nvPr>
            <p:ph type="sldNum" sz="quarter" idx="5"/>
          </p:nvPr>
        </p:nvSpPr>
        <p:spPr/>
        <p:txBody>
          <a:bodyPr/>
          <a:lstStyle/>
          <a:p>
            <a:fld id="{5B43D19E-BFDB-4C92-8EDD-32EDDA8F41DF}" type="slidenum">
              <a:rPr lang="en-GB" smtClean="0"/>
              <a:pPr/>
              <a:t>44</a:t>
            </a:fld>
            <a:endParaRPr lang="en-GB"/>
          </a:p>
        </p:txBody>
      </p:sp>
    </p:spTree>
    <p:extLst>
      <p:ext uri="{BB962C8B-B14F-4D97-AF65-F5344CB8AC3E}">
        <p14:creationId xmlns:p14="http://schemas.microsoft.com/office/powerpoint/2010/main" val="2384278852"/>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C997DF3-905D-0BB1-9AB6-020193A6DCC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0B65767-9E2E-8ECC-2C15-5C4E1CFC97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56B693-C2FF-5D2E-BB4F-0046D30DBD49}"/>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03FB66D9-0550-27CA-3FBF-DC1532313BDC}"/>
              </a:ext>
            </a:extLst>
          </p:cNvPr>
          <p:cNvSpPr>
            <a:spLocks noGrp="1"/>
          </p:cNvSpPr>
          <p:nvPr>
            <p:ph type="sldNum" sz="quarter" idx="5"/>
          </p:nvPr>
        </p:nvSpPr>
        <p:spPr/>
        <p:txBody>
          <a:bodyPr/>
          <a:lstStyle/>
          <a:p>
            <a:fld id="{5B43D19E-BFDB-4C92-8EDD-32EDDA8F41DF}" type="slidenum">
              <a:rPr lang="en-GB" smtClean="0"/>
              <a:pPr/>
              <a:t>45</a:t>
            </a:fld>
            <a:endParaRPr lang="en-GB"/>
          </a:p>
        </p:txBody>
      </p:sp>
    </p:spTree>
    <p:extLst>
      <p:ext uri="{BB962C8B-B14F-4D97-AF65-F5344CB8AC3E}">
        <p14:creationId xmlns:p14="http://schemas.microsoft.com/office/powerpoint/2010/main" val="12523185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9A15D0-2580-7F34-52C0-D7F387F6ED5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10F8803-8F4E-8A0B-D04E-4D22B625AE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AA4B466-3856-686F-1AB6-F8266EA69B22}"/>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46E6CF7C-48A3-A01C-357D-57B386B1A902}"/>
              </a:ext>
            </a:extLst>
          </p:cNvPr>
          <p:cNvSpPr>
            <a:spLocks noGrp="1"/>
          </p:cNvSpPr>
          <p:nvPr>
            <p:ph type="sldNum" sz="quarter" idx="5"/>
          </p:nvPr>
        </p:nvSpPr>
        <p:spPr/>
        <p:txBody>
          <a:bodyPr/>
          <a:lstStyle/>
          <a:p>
            <a:fld id="{5B43D19E-BFDB-4C92-8EDD-32EDDA8F41DF}" type="slidenum">
              <a:rPr lang="en-GB" smtClean="0"/>
              <a:pPr/>
              <a:t>46</a:t>
            </a:fld>
            <a:endParaRPr lang="en-GB"/>
          </a:p>
        </p:txBody>
      </p:sp>
    </p:spTree>
    <p:extLst>
      <p:ext uri="{BB962C8B-B14F-4D97-AF65-F5344CB8AC3E}">
        <p14:creationId xmlns:p14="http://schemas.microsoft.com/office/powerpoint/2010/main" val="241494577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928A89-BE78-0F79-25A9-9AA4E84FD08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C43E29-9437-CCD1-0A0E-076F986075D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5AC54A-94E9-7EA4-2244-CFFAAD948335}"/>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1F379BD3-CFC9-4BD8-2917-20F65CE0982D}"/>
              </a:ext>
            </a:extLst>
          </p:cNvPr>
          <p:cNvSpPr>
            <a:spLocks noGrp="1"/>
          </p:cNvSpPr>
          <p:nvPr>
            <p:ph type="sldNum" sz="quarter" idx="5"/>
          </p:nvPr>
        </p:nvSpPr>
        <p:spPr/>
        <p:txBody>
          <a:bodyPr/>
          <a:lstStyle/>
          <a:p>
            <a:fld id="{5B43D19E-BFDB-4C92-8EDD-32EDDA8F41DF}" type="slidenum">
              <a:rPr lang="en-GB" smtClean="0"/>
              <a:pPr/>
              <a:t>47</a:t>
            </a:fld>
            <a:endParaRPr lang="en-GB"/>
          </a:p>
        </p:txBody>
      </p:sp>
    </p:spTree>
    <p:extLst>
      <p:ext uri="{BB962C8B-B14F-4D97-AF65-F5344CB8AC3E}">
        <p14:creationId xmlns:p14="http://schemas.microsoft.com/office/powerpoint/2010/main" val="25936241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E7F647-1B02-3889-D532-DBE260FF11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5237D58-9949-2DEF-FF70-C5AB239A30B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6CC352-A715-3333-7B9C-D698DB50A0CD}"/>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D154EA5B-EFE8-788F-CF59-B3CFDF0CCB8B}"/>
              </a:ext>
            </a:extLst>
          </p:cNvPr>
          <p:cNvSpPr>
            <a:spLocks noGrp="1"/>
          </p:cNvSpPr>
          <p:nvPr>
            <p:ph type="sldNum" sz="quarter" idx="5"/>
          </p:nvPr>
        </p:nvSpPr>
        <p:spPr/>
        <p:txBody>
          <a:bodyPr/>
          <a:lstStyle/>
          <a:p>
            <a:fld id="{5B43D19E-BFDB-4C92-8EDD-32EDDA8F41DF}" type="slidenum">
              <a:rPr lang="en-GB" smtClean="0"/>
              <a:pPr/>
              <a:t>48</a:t>
            </a:fld>
            <a:endParaRPr lang="en-GB"/>
          </a:p>
        </p:txBody>
      </p:sp>
    </p:spTree>
    <p:extLst>
      <p:ext uri="{BB962C8B-B14F-4D97-AF65-F5344CB8AC3E}">
        <p14:creationId xmlns:p14="http://schemas.microsoft.com/office/powerpoint/2010/main" val="66090106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3E6EAF-FA50-6DEB-1C12-4207C1180A8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478BD5D-F5E8-D824-6897-8CCA8683FAE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3E3B9B1-EDFA-0E79-1F93-1D0625FE921E}"/>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5F1DB79E-93B3-72B5-C0AE-A59366178E94}"/>
              </a:ext>
            </a:extLst>
          </p:cNvPr>
          <p:cNvSpPr>
            <a:spLocks noGrp="1"/>
          </p:cNvSpPr>
          <p:nvPr>
            <p:ph type="sldNum" sz="quarter" idx="5"/>
          </p:nvPr>
        </p:nvSpPr>
        <p:spPr/>
        <p:txBody>
          <a:bodyPr/>
          <a:lstStyle/>
          <a:p>
            <a:fld id="{5B43D19E-BFDB-4C92-8EDD-32EDDA8F41DF}" type="slidenum">
              <a:rPr lang="en-GB" smtClean="0"/>
              <a:pPr/>
              <a:t>49</a:t>
            </a:fld>
            <a:endParaRPr lang="en-GB"/>
          </a:p>
        </p:txBody>
      </p:sp>
    </p:spTree>
    <p:extLst>
      <p:ext uri="{BB962C8B-B14F-4D97-AF65-F5344CB8AC3E}">
        <p14:creationId xmlns:p14="http://schemas.microsoft.com/office/powerpoint/2010/main" val="11216991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GB" smtClean="0"/>
              <a:pPr/>
              <a:t>10</a:t>
            </a:fld>
            <a:endParaRPr lang="en-GB"/>
          </a:p>
        </p:txBody>
      </p:sp>
    </p:spTree>
    <p:extLst>
      <p:ext uri="{BB962C8B-B14F-4D97-AF65-F5344CB8AC3E}">
        <p14:creationId xmlns:p14="http://schemas.microsoft.com/office/powerpoint/2010/main" val="17303563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057AD7-37C7-85C4-5532-867DCC9DF3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62D6CF-305C-DA30-4565-63935DA4BEC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0CD4D82-7A6D-1A5E-071B-487C125D0D25}"/>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C245AD32-A107-463C-025B-88160841F99C}"/>
              </a:ext>
            </a:extLst>
          </p:cNvPr>
          <p:cNvSpPr>
            <a:spLocks noGrp="1"/>
          </p:cNvSpPr>
          <p:nvPr>
            <p:ph type="sldNum" sz="quarter" idx="5"/>
          </p:nvPr>
        </p:nvSpPr>
        <p:spPr/>
        <p:txBody>
          <a:bodyPr/>
          <a:lstStyle/>
          <a:p>
            <a:fld id="{5B43D19E-BFDB-4C92-8EDD-32EDDA8F41DF}" type="slidenum">
              <a:rPr lang="en-GB" smtClean="0"/>
              <a:pPr/>
              <a:t>50</a:t>
            </a:fld>
            <a:endParaRPr lang="en-GB"/>
          </a:p>
        </p:txBody>
      </p:sp>
    </p:spTree>
    <p:extLst>
      <p:ext uri="{BB962C8B-B14F-4D97-AF65-F5344CB8AC3E}">
        <p14:creationId xmlns:p14="http://schemas.microsoft.com/office/powerpoint/2010/main" val="6109392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174ED4E-C163-8BE0-B603-D4815F4B72A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ECE7222-0E81-3FFA-B4AC-42CE8FFA0FB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BBCECCF-0BFD-346C-07FB-FE0FE984CD6E}"/>
              </a:ext>
            </a:extLst>
          </p:cNvPr>
          <p:cNvSpPr>
            <a:spLocks noGrp="1"/>
          </p:cNvSpPr>
          <p:nvPr>
            <p:ph type="body" idx="1"/>
          </p:nvPr>
        </p:nvSpPr>
        <p:spPr/>
        <p:txBody>
          <a:bodyPr>
            <a:normAutofit/>
          </a:bodyPr>
          <a:lstStyle/>
          <a:p>
            <a:endParaRPr lang="en-IN" dirty="0"/>
          </a:p>
        </p:txBody>
      </p:sp>
      <p:sp>
        <p:nvSpPr>
          <p:cNvPr id="4" name="Slide Number Placeholder 3">
            <a:extLst>
              <a:ext uri="{FF2B5EF4-FFF2-40B4-BE49-F238E27FC236}">
                <a16:creationId xmlns:a16="http://schemas.microsoft.com/office/drawing/2014/main" id="{1273420E-7AF0-D8A3-CCE2-99B3E5F7F7D0}"/>
              </a:ext>
            </a:extLst>
          </p:cNvPr>
          <p:cNvSpPr>
            <a:spLocks noGrp="1"/>
          </p:cNvSpPr>
          <p:nvPr>
            <p:ph type="sldNum" sz="quarter" idx="5"/>
          </p:nvPr>
        </p:nvSpPr>
        <p:spPr/>
        <p:txBody>
          <a:bodyPr/>
          <a:lstStyle/>
          <a:p>
            <a:fld id="{5B43D19E-BFDB-4C92-8EDD-32EDDA8F41DF}" type="slidenum">
              <a:rPr lang="en-GB" smtClean="0"/>
              <a:pPr/>
              <a:t>51</a:t>
            </a:fld>
            <a:endParaRPr lang="en-GB"/>
          </a:p>
        </p:txBody>
      </p:sp>
    </p:spTree>
    <p:extLst>
      <p:ext uri="{BB962C8B-B14F-4D97-AF65-F5344CB8AC3E}">
        <p14:creationId xmlns:p14="http://schemas.microsoft.com/office/powerpoint/2010/main" val="250111595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D7E5C1-B1F4-1B72-6533-7150E673D8A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3535C48-66AB-4257-82B2-9E5485DB89D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D45177-E400-D1C9-9D9A-C06FF3C9D395}"/>
              </a:ext>
            </a:extLst>
          </p:cNvPr>
          <p:cNvSpPr>
            <a:spLocks noGrp="1"/>
          </p:cNvSpPr>
          <p:nvPr>
            <p:ph type="body" idx="1"/>
          </p:nvPr>
        </p:nvSpPr>
        <p:spPr/>
        <p:txBody>
          <a:bodyPr>
            <a:normAutofit/>
          </a:bodyPr>
          <a:lstStyle/>
          <a:p>
            <a:endParaRPr lang="en-IN" dirty="0"/>
          </a:p>
        </p:txBody>
      </p:sp>
      <p:sp>
        <p:nvSpPr>
          <p:cNvPr id="4" name="Slide Number Placeholder 3">
            <a:extLst>
              <a:ext uri="{FF2B5EF4-FFF2-40B4-BE49-F238E27FC236}">
                <a16:creationId xmlns:a16="http://schemas.microsoft.com/office/drawing/2014/main" id="{4B4976CE-39C6-F6CC-C1F0-56C46ADAA2B1}"/>
              </a:ext>
            </a:extLst>
          </p:cNvPr>
          <p:cNvSpPr>
            <a:spLocks noGrp="1"/>
          </p:cNvSpPr>
          <p:nvPr>
            <p:ph type="sldNum" sz="quarter" idx="5"/>
          </p:nvPr>
        </p:nvSpPr>
        <p:spPr/>
        <p:txBody>
          <a:bodyPr/>
          <a:lstStyle/>
          <a:p>
            <a:fld id="{5B43D19E-BFDB-4C92-8EDD-32EDDA8F41DF}" type="slidenum">
              <a:rPr lang="en-GB" smtClean="0"/>
              <a:pPr/>
              <a:t>52</a:t>
            </a:fld>
            <a:endParaRPr lang="en-GB"/>
          </a:p>
        </p:txBody>
      </p:sp>
    </p:spTree>
    <p:extLst>
      <p:ext uri="{BB962C8B-B14F-4D97-AF65-F5344CB8AC3E}">
        <p14:creationId xmlns:p14="http://schemas.microsoft.com/office/powerpoint/2010/main" val="334226737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60B396-4744-90D6-0EFB-9A330583B2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3C0CDA-6795-59C5-2EDB-913ED93D89F2}"/>
              </a:ext>
            </a:extLst>
          </p:cNvPr>
          <p:cNvSpPr>
            <a:spLocks noGrp="1" noRot="1" noChangeAspect="1"/>
          </p:cNvSpPr>
          <p:nvPr>
            <p:ph type="sldImg"/>
          </p:nvPr>
        </p:nvSpPr>
        <p:spPr>
          <a:xfrm>
            <a:off x="139700" y="766763"/>
            <a:ext cx="6823075" cy="3838575"/>
          </a:xfrm>
        </p:spPr>
      </p:sp>
      <p:sp>
        <p:nvSpPr>
          <p:cNvPr id="3" name="Notes Placeholder 2">
            <a:extLst>
              <a:ext uri="{FF2B5EF4-FFF2-40B4-BE49-F238E27FC236}">
                <a16:creationId xmlns:a16="http://schemas.microsoft.com/office/drawing/2014/main" id="{59EA8400-7FEE-F95C-E624-C695EC121F92}"/>
              </a:ext>
            </a:extLst>
          </p:cNvPr>
          <p:cNvSpPr>
            <a:spLocks noGrp="1"/>
          </p:cNvSpPr>
          <p:nvPr>
            <p:ph type="body" idx="1"/>
          </p:nvPr>
        </p:nvSpPr>
        <p:spPr/>
        <p:txBody>
          <a:bodyPr/>
          <a:lstStyle/>
          <a:p>
            <a:endParaRPr lang="en-US"/>
          </a:p>
        </p:txBody>
      </p:sp>
      <p:sp>
        <p:nvSpPr>
          <p:cNvPr id="4" name="Slide Number Placeholder 3">
            <a:extLst>
              <a:ext uri="{FF2B5EF4-FFF2-40B4-BE49-F238E27FC236}">
                <a16:creationId xmlns:a16="http://schemas.microsoft.com/office/drawing/2014/main" id="{41CDEE64-95F0-F861-503B-880B3FBEAD85}"/>
              </a:ext>
            </a:extLst>
          </p:cNvPr>
          <p:cNvSpPr>
            <a:spLocks noGrp="1"/>
          </p:cNvSpPr>
          <p:nvPr>
            <p:ph type="sldNum" sz="quarter" idx="5"/>
          </p:nvPr>
        </p:nvSpPr>
        <p:spPr/>
        <p:txBody>
          <a:bodyPr/>
          <a:lstStyle/>
          <a:p>
            <a:fld id="{5B43D19E-BFDB-4C92-8EDD-32EDDA8F41DF}" type="slidenum">
              <a:rPr lang="en-GB" smtClean="0"/>
              <a:pPr/>
              <a:t>53</a:t>
            </a:fld>
            <a:endParaRPr lang="en-GB"/>
          </a:p>
        </p:txBody>
      </p:sp>
    </p:spTree>
    <p:extLst>
      <p:ext uri="{BB962C8B-B14F-4D97-AF65-F5344CB8AC3E}">
        <p14:creationId xmlns:p14="http://schemas.microsoft.com/office/powerpoint/2010/main" val="21415497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0AB63A5-5F0E-E2EB-2DF6-F74AA06B4FC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030396A-BADE-7B9B-CCBB-AC5AAE56C05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70A742C-4195-C5D4-6092-DB4F3CA3322B}"/>
              </a:ext>
            </a:extLst>
          </p:cNvPr>
          <p:cNvSpPr>
            <a:spLocks noGrp="1"/>
          </p:cNvSpPr>
          <p:nvPr>
            <p:ph type="body" idx="1"/>
          </p:nvPr>
        </p:nvSpPr>
        <p:spPr/>
        <p:txBody>
          <a:bodyPr/>
          <a:lstStyle/>
          <a:p>
            <a:endParaRPr lang="en-US" sz="2000" dirty="0"/>
          </a:p>
        </p:txBody>
      </p:sp>
      <p:sp>
        <p:nvSpPr>
          <p:cNvPr id="4" name="Slide Number Placeholder 3">
            <a:extLst>
              <a:ext uri="{FF2B5EF4-FFF2-40B4-BE49-F238E27FC236}">
                <a16:creationId xmlns:a16="http://schemas.microsoft.com/office/drawing/2014/main" id="{55B05D39-336C-E130-A4C4-E689449651A3}"/>
              </a:ext>
            </a:extLst>
          </p:cNvPr>
          <p:cNvSpPr>
            <a:spLocks noGrp="1"/>
          </p:cNvSpPr>
          <p:nvPr>
            <p:ph type="sldNum" sz="quarter" idx="5"/>
          </p:nvPr>
        </p:nvSpPr>
        <p:spPr/>
        <p:txBody>
          <a:bodyPr/>
          <a:lstStyle/>
          <a:p>
            <a:fld id="{5B43D19E-BFDB-4C92-8EDD-32EDDA8F41DF}" type="slidenum">
              <a:rPr lang="en-GB" smtClean="0"/>
              <a:pPr/>
              <a:t>11</a:t>
            </a:fld>
            <a:endParaRPr lang="en-GB"/>
          </a:p>
        </p:txBody>
      </p:sp>
    </p:spTree>
    <p:extLst>
      <p:ext uri="{BB962C8B-B14F-4D97-AF65-F5344CB8AC3E}">
        <p14:creationId xmlns:p14="http://schemas.microsoft.com/office/powerpoint/2010/main" val="32103612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1314090-EDB4-1BEA-DDC1-25FF5FB91B0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99A4F3-CAA5-54ED-2702-D0BBF0C9C16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0CF135B-D90B-C8BF-752B-66A3AABB2BCF}"/>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28865F07-9B4D-B64F-B4AF-E67023E7AFC3}"/>
              </a:ext>
            </a:extLst>
          </p:cNvPr>
          <p:cNvSpPr>
            <a:spLocks noGrp="1"/>
          </p:cNvSpPr>
          <p:nvPr>
            <p:ph type="sldNum" sz="quarter" idx="5"/>
          </p:nvPr>
        </p:nvSpPr>
        <p:spPr/>
        <p:txBody>
          <a:bodyPr/>
          <a:lstStyle/>
          <a:p>
            <a:fld id="{5B43D19E-BFDB-4C92-8EDD-32EDDA8F41DF}" type="slidenum">
              <a:rPr lang="en-GB" smtClean="0"/>
              <a:pPr/>
              <a:t>13</a:t>
            </a:fld>
            <a:endParaRPr lang="en-GB"/>
          </a:p>
        </p:txBody>
      </p:sp>
    </p:spTree>
    <p:extLst>
      <p:ext uri="{BB962C8B-B14F-4D97-AF65-F5344CB8AC3E}">
        <p14:creationId xmlns:p14="http://schemas.microsoft.com/office/powerpoint/2010/main" val="35979371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715DC3-DC75-5263-1FEA-C904FF817F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ADB352B-97EC-8511-5A6E-04A52C527BC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663FE6B-5CA3-B3E6-E595-15908587CEBC}"/>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D2B782AD-A659-5A8C-ED47-048DC10388A1}"/>
              </a:ext>
            </a:extLst>
          </p:cNvPr>
          <p:cNvSpPr>
            <a:spLocks noGrp="1"/>
          </p:cNvSpPr>
          <p:nvPr>
            <p:ph type="sldNum" sz="quarter" idx="5"/>
          </p:nvPr>
        </p:nvSpPr>
        <p:spPr/>
        <p:txBody>
          <a:bodyPr/>
          <a:lstStyle/>
          <a:p>
            <a:fld id="{5B43D19E-BFDB-4C92-8EDD-32EDDA8F41DF}" type="slidenum">
              <a:rPr lang="en-GB" smtClean="0"/>
              <a:pPr/>
              <a:t>14</a:t>
            </a:fld>
            <a:endParaRPr lang="en-GB"/>
          </a:p>
        </p:txBody>
      </p:sp>
    </p:spTree>
    <p:extLst>
      <p:ext uri="{BB962C8B-B14F-4D97-AF65-F5344CB8AC3E}">
        <p14:creationId xmlns:p14="http://schemas.microsoft.com/office/powerpoint/2010/main" val="445938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F6A864-D0F2-1FC3-6143-7D8CD034611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D823C47-7754-330D-28BC-68B77C47B19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0A2463-A92F-9D5F-DFF7-8307913012C0}"/>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7EAE4A27-0423-E6FE-B776-EE30DC1A003F}"/>
              </a:ext>
            </a:extLst>
          </p:cNvPr>
          <p:cNvSpPr>
            <a:spLocks noGrp="1"/>
          </p:cNvSpPr>
          <p:nvPr>
            <p:ph type="sldNum" sz="quarter" idx="5"/>
          </p:nvPr>
        </p:nvSpPr>
        <p:spPr/>
        <p:txBody>
          <a:bodyPr/>
          <a:lstStyle/>
          <a:p>
            <a:fld id="{5B43D19E-BFDB-4C92-8EDD-32EDDA8F41DF}" type="slidenum">
              <a:rPr lang="en-GB" smtClean="0"/>
              <a:pPr/>
              <a:t>15</a:t>
            </a:fld>
            <a:endParaRPr lang="en-GB"/>
          </a:p>
        </p:txBody>
      </p:sp>
    </p:spTree>
    <p:extLst>
      <p:ext uri="{BB962C8B-B14F-4D97-AF65-F5344CB8AC3E}">
        <p14:creationId xmlns:p14="http://schemas.microsoft.com/office/powerpoint/2010/main" val="394763769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02FA06-E327-5FC3-D885-67EBE848D62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8132BC6-4B35-0A74-2CD5-A5179095AC8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EEDE30-8EAE-3119-ED9C-FAF6349EA775}"/>
              </a:ext>
            </a:extLst>
          </p:cNvPr>
          <p:cNvSpPr>
            <a:spLocks noGrp="1"/>
          </p:cNvSpPr>
          <p:nvPr>
            <p:ph type="body" idx="1"/>
          </p:nvPr>
        </p:nvSpPr>
        <p:spPr/>
        <p:txBody>
          <a:bodyPr/>
          <a:lstStyle/>
          <a:p>
            <a:endParaRPr lang="en-IN" dirty="0"/>
          </a:p>
        </p:txBody>
      </p:sp>
      <p:sp>
        <p:nvSpPr>
          <p:cNvPr id="4" name="Slide Number Placeholder 3">
            <a:extLst>
              <a:ext uri="{FF2B5EF4-FFF2-40B4-BE49-F238E27FC236}">
                <a16:creationId xmlns:a16="http://schemas.microsoft.com/office/drawing/2014/main" id="{D0958599-18F2-F8A8-4E80-630625A1FC95}"/>
              </a:ext>
            </a:extLst>
          </p:cNvPr>
          <p:cNvSpPr>
            <a:spLocks noGrp="1"/>
          </p:cNvSpPr>
          <p:nvPr>
            <p:ph type="sldNum" sz="quarter" idx="5"/>
          </p:nvPr>
        </p:nvSpPr>
        <p:spPr/>
        <p:txBody>
          <a:bodyPr/>
          <a:lstStyle/>
          <a:p>
            <a:fld id="{5B43D19E-BFDB-4C92-8EDD-32EDDA8F41DF}" type="slidenum">
              <a:rPr lang="en-GB" smtClean="0"/>
              <a:pPr/>
              <a:t>16</a:t>
            </a:fld>
            <a:endParaRPr lang="en-GB"/>
          </a:p>
        </p:txBody>
      </p:sp>
    </p:spTree>
    <p:extLst>
      <p:ext uri="{BB962C8B-B14F-4D97-AF65-F5344CB8AC3E}">
        <p14:creationId xmlns:p14="http://schemas.microsoft.com/office/powerpoint/2010/main" val="287094528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549E6497-5761-9CB4-7D69-7DD93A7D3AE3}"/>
              </a:ext>
            </a:extLst>
          </p:cNvPr>
          <p:cNvGrpSpPr/>
          <p:nvPr userDrawn="1"/>
        </p:nvGrpSpPr>
        <p:grpSpPr>
          <a:xfrm>
            <a:off x="-1" y="0"/>
            <a:ext cx="12192001" cy="6858000"/>
            <a:chOff x="-1" y="0"/>
            <a:chExt cx="12192001" cy="6858000"/>
          </a:xfrm>
        </p:grpSpPr>
        <p:pic>
          <p:nvPicPr>
            <p:cNvPr id="2" name="Picture 1" descr="A person standing in front of a group of people&#10;&#10;AI-generated content may be incorrect.">
              <a:extLst>
                <a:ext uri="{FF2B5EF4-FFF2-40B4-BE49-F238E27FC236}">
                  <a16:creationId xmlns:a16="http://schemas.microsoft.com/office/drawing/2014/main" id="{8035CD09-C0EB-B54D-BAB3-4FC8F9D18FAD}"/>
                </a:ext>
              </a:extLst>
            </p:cNvPr>
            <p:cNvPicPr>
              <a:picLocks noChangeAspect="1"/>
            </p:cNvPicPr>
            <p:nvPr userDrawn="1"/>
          </p:nvPicPr>
          <p:blipFill>
            <a:blip r:embed="rId2"/>
            <a:srcRect l="1511" t="10524" r="3633" b="9471"/>
            <a:stretch/>
          </p:blipFill>
          <p:spPr>
            <a:xfrm>
              <a:off x="-1" y="0"/>
              <a:ext cx="12192001" cy="6858000"/>
            </a:xfrm>
            <a:prstGeom prst="rect">
              <a:avLst/>
            </a:prstGeom>
          </p:spPr>
        </p:pic>
        <p:sp>
          <p:nvSpPr>
            <p:cNvPr id="6" name="Rectangle 5">
              <a:extLst>
                <a:ext uri="{FF2B5EF4-FFF2-40B4-BE49-F238E27FC236}">
                  <a16:creationId xmlns:a16="http://schemas.microsoft.com/office/drawing/2014/main" id="{4761275B-9DE7-87E0-5931-60590C32D488}"/>
                </a:ext>
              </a:extLst>
            </p:cNvPr>
            <p:cNvSpPr/>
            <p:nvPr userDrawn="1"/>
          </p:nvSpPr>
          <p:spPr>
            <a:xfrm>
              <a:off x="-1" y="0"/>
              <a:ext cx="12192000" cy="6858000"/>
            </a:xfrm>
            <a:prstGeom prst="rect">
              <a:avLst/>
            </a:prstGeom>
            <a:solidFill>
              <a:srgbClr val="1A1A24">
                <a:alpha val="70000"/>
              </a:srgbClr>
            </a:soli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IN" sz="2000" dirty="0" err="1">
                <a:solidFill>
                  <a:schemeClr val="tx1"/>
                </a:solidFill>
              </a:endParaRPr>
            </a:p>
          </p:txBody>
        </p:sp>
      </p:grpSp>
      <p:grpSp>
        <p:nvGrpSpPr>
          <p:cNvPr id="5" name="Group 4">
            <a:extLst>
              <a:ext uri="{FF2B5EF4-FFF2-40B4-BE49-F238E27FC236}">
                <a16:creationId xmlns:a16="http://schemas.microsoft.com/office/drawing/2014/main" id="{3D8D2553-DCAF-2D9D-2138-FE4E794B7FFA}"/>
              </a:ext>
            </a:extLst>
          </p:cNvPr>
          <p:cNvGrpSpPr/>
          <p:nvPr userDrawn="1"/>
        </p:nvGrpSpPr>
        <p:grpSpPr>
          <a:xfrm>
            <a:off x="485775" y="6164633"/>
            <a:ext cx="4940935" cy="318770"/>
            <a:chOff x="485775" y="6164633"/>
            <a:chExt cx="4940935" cy="318770"/>
          </a:xfrm>
        </p:grpSpPr>
        <p:sp>
          <p:nvSpPr>
            <p:cNvPr id="297" name="Freeform 296">
              <a:extLst>
                <a:ext uri="{FF2B5EF4-FFF2-40B4-BE49-F238E27FC236}">
                  <a16:creationId xmlns:a16="http://schemas.microsoft.com/office/drawing/2014/main" id="{AD4E5D8B-12B4-19F3-17D4-D12BF368FC85}"/>
                </a:ext>
              </a:extLst>
            </p:cNvPr>
            <p:cNvSpPr/>
            <p:nvPr/>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98" name="Freeform 297">
              <a:extLst>
                <a:ext uri="{FF2B5EF4-FFF2-40B4-BE49-F238E27FC236}">
                  <a16:creationId xmlns:a16="http://schemas.microsoft.com/office/drawing/2014/main" id="{219789D6-6B07-F2E6-06BE-8CA9DC83E385}"/>
                </a:ext>
              </a:extLst>
            </p:cNvPr>
            <p:cNvSpPr/>
            <p:nvPr/>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grpSp>
        <p:nvGrpSpPr>
          <p:cNvPr id="4" name="Group 3">
            <a:extLst>
              <a:ext uri="{FF2B5EF4-FFF2-40B4-BE49-F238E27FC236}">
                <a16:creationId xmlns:a16="http://schemas.microsoft.com/office/drawing/2014/main" id="{9767D4D9-A47B-4020-6B9B-87B081166C85}"/>
              </a:ext>
            </a:extLst>
          </p:cNvPr>
          <p:cNvGrpSpPr/>
          <p:nvPr userDrawn="1"/>
        </p:nvGrpSpPr>
        <p:grpSpPr>
          <a:xfrm>
            <a:off x="485774" y="1291008"/>
            <a:ext cx="5706110" cy="4360545"/>
            <a:chOff x="485774" y="1291008"/>
            <a:chExt cx="5706110" cy="4360545"/>
          </a:xfrm>
        </p:grpSpPr>
        <p:sp>
          <p:nvSpPr>
            <p:cNvPr id="299" name="Freeform 298">
              <a:extLst>
                <a:ext uri="{FF2B5EF4-FFF2-40B4-BE49-F238E27FC236}">
                  <a16:creationId xmlns:a16="http://schemas.microsoft.com/office/drawing/2014/main" id="{70589FC3-4491-BD75-2C16-660DF0B71BBC}"/>
                </a:ext>
              </a:extLst>
            </p:cNvPr>
            <p:cNvSpPr/>
            <p:nvPr/>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293" name="Freeform 292">
              <a:extLst>
                <a:ext uri="{FF2B5EF4-FFF2-40B4-BE49-F238E27FC236}">
                  <a16:creationId xmlns:a16="http://schemas.microsoft.com/office/drawing/2014/main" id="{B00DB918-F11D-F855-5478-ECB25A1AC3D1}"/>
                </a:ext>
              </a:extLst>
            </p:cNvPr>
            <p:cNvSpPr/>
            <p:nvPr/>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a:p>
          </p:txBody>
        </p:sp>
      </p:grpSp>
      <p:sp>
        <p:nvSpPr>
          <p:cNvPr id="274" name="Subtitle 2">
            <a:extLst>
              <a:ext uri="{FF2B5EF4-FFF2-40B4-BE49-F238E27FC236}">
                <a16:creationId xmlns:a16="http://schemas.microsoft.com/office/drawing/2014/main" id="{74103396-CF0A-A808-BF1B-463C3EF7376E}"/>
              </a:ext>
            </a:extLst>
          </p:cNvPr>
          <p:cNvSpPr>
            <a:spLocks noGrp="1"/>
          </p:cNvSpPr>
          <p:nvPr>
            <p:ph type="subTitle" idx="1" hasCustomPrompt="1"/>
          </p:nvPr>
        </p:nvSpPr>
        <p:spPr>
          <a:xfrm>
            <a:off x="889762" y="4440981"/>
            <a:ext cx="4907628" cy="273026"/>
          </a:xfrm>
        </p:spPr>
        <p:txBody>
          <a:bodyPr wrap="square">
            <a:noAutofit/>
          </a:bodyPr>
          <a:lstStyle>
            <a:lvl1pPr marL="0" indent="0" algn="l">
              <a:buNone/>
              <a:defRPr sz="1800">
                <a:latin typeface="EYInterstate" panose="02000503020000020004"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75" name="Title 4">
            <a:extLst>
              <a:ext uri="{FF2B5EF4-FFF2-40B4-BE49-F238E27FC236}">
                <a16:creationId xmlns:a16="http://schemas.microsoft.com/office/drawing/2014/main" id="{B57CD4DB-AED0-4F7E-41BA-02CA96598AEC}"/>
              </a:ext>
            </a:extLst>
          </p:cNvPr>
          <p:cNvSpPr>
            <a:spLocks noGrp="1"/>
          </p:cNvSpPr>
          <p:nvPr>
            <p:ph type="title"/>
          </p:nvPr>
        </p:nvSpPr>
        <p:spPr>
          <a:xfrm>
            <a:off x="889762" y="2698752"/>
            <a:ext cx="4906009" cy="1488702"/>
          </a:xfrm>
        </p:spPr>
        <p:txBody>
          <a:bodyPr anchor="t">
            <a:noAutofit/>
          </a:bodyPr>
          <a:lstStyle>
            <a:lvl1pPr>
              <a:defRPr sz="5400" b="1" i="0">
                <a:solidFill>
                  <a:schemeClr val="bg1"/>
                </a:solidFill>
                <a:latin typeface="EYInterstate" panose="02000503020000020004" pitchFamily="2" charset="0"/>
              </a:defRPr>
            </a:lvl1pPr>
          </a:lstStyle>
          <a:p>
            <a:r>
              <a:rPr lang="en-GB" dirty="0"/>
              <a:t>Click to edit Master title</a:t>
            </a:r>
            <a:endParaRPr lang="en-US" dirty="0"/>
          </a:p>
        </p:txBody>
      </p:sp>
      <p:sp>
        <p:nvSpPr>
          <p:cNvPr id="289" name="Text Placeholder 288">
            <a:extLst>
              <a:ext uri="{FF2B5EF4-FFF2-40B4-BE49-F238E27FC236}">
                <a16:creationId xmlns:a16="http://schemas.microsoft.com/office/drawing/2014/main" id="{31D45A6D-135C-8C27-4F13-A3BC79AB3ED3}"/>
              </a:ext>
            </a:extLst>
          </p:cNvPr>
          <p:cNvSpPr>
            <a:spLocks noGrp="1"/>
          </p:cNvSpPr>
          <p:nvPr>
            <p:ph type="body" sz="quarter" idx="10"/>
          </p:nvPr>
        </p:nvSpPr>
        <p:spPr>
          <a:xfrm>
            <a:off x="889762" y="4967534"/>
            <a:ext cx="4906010" cy="276999"/>
          </a:xfrm>
        </p:spPr>
        <p:txBody>
          <a:bodyPr wrap="square">
            <a:spAutoFit/>
          </a:bodyPr>
          <a:lstStyle>
            <a:lvl1pPr marL="0" indent="0">
              <a:buNone/>
              <a:defRPr sz="18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10" name="Group 309">
            <a:extLst>
              <a:ext uri="{FF2B5EF4-FFF2-40B4-BE49-F238E27FC236}">
                <a16:creationId xmlns:a16="http://schemas.microsoft.com/office/drawing/2014/main" id="{CE838069-3AB1-D532-FB66-FDAEA51877B1}"/>
              </a:ext>
            </a:extLst>
          </p:cNvPr>
          <p:cNvGrpSpPr/>
          <p:nvPr userDrawn="1"/>
        </p:nvGrpSpPr>
        <p:grpSpPr bwMode="black">
          <a:xfrm>
            <a:off x="10563224" y="5167683"/>
            <a:ext cx="1219200" cy="1284606"/>
            <a:chOff x="10563224" y="5158158"/>
            <a:chExt cx="1219200" cy="1284606"/>
          </a:xfrm>
        </p:grpSpPr>
        <p:sp>
          <p:nvSpPr>
            <p:cNvPr id="311" name="Freeform 310">
              <a:extLst>
                <a:ext uri="{FF2B5EF4-FFF2-40B4-BE49-F238E27FC236}">
                  <a16:creationId xmlns:a16="http://schemas.microsoft.com/office/drawing/2014/main" id="{E6AE5B0D-79EC-EE9E-636A-1E7D4A6A240A}"/>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p>
          </p:txBody>
        </p:sp>
        <p:sp>
          <p:nvSpPr>
            <p:cNvPr id="312" name="Freeform 311">
              <a:extLst>
                <a:ext uri="{FF2B5EF4-FFF2-40B4-BE49-F238E27FC236}">
                  <a16:creationId xmlns:a16="http://schemas.microsoft.com/office/drawing/2014/main" id="{8B00C66D-FD9B-3996-472E-1CEF16690026}"/>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a:p>
          </p:txBody>
        </p:sp>
      </p:grpSp>
    </p:spTree>
    <p:extLst>
      <p:ext uri="{BB962C8B-B14F-4D97-AF65-F5344CB8AC3E}">
        <p14:creationId xmlns:p14="http://schemas.microsoft.com/office/powerpoint/2010/main" val="33433637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Frame 5">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CF5E0C7-6CC4-C4E1-946D-4BAC78CCDAE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a:p>
          </p:txBody>
        </p:sp>
      </p:grpSp>
      <p:grpSp>
        <p:nvGrpSpPr>
          <p:cNvPr id="4" name="Group 3">
            <a:extLst>
              <a:ext uri="{FF2B5EF4-FFF2-40B4-BE49-F238E27FC236}">
                <a16:creationId xmlns:a16="http://schemas.microsoft.com/office/drawing/2014/main" id="{92E27567-DFCD-709F-AF40-B7A340ECC0FE}"/>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AAC690EE-1BB8-29C6-B9D8-2BD7B4AE078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32FFFF"/>
                </a:gs>
              </a:gsLst>
              <a:lin ang="18720000" scaled="0"/>
              <a:tileRect/>
            </a:gradFill>
            <a:ln w="8181"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24322310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Slide Frame 6">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71B9AAE-F698-5F49-FF7D-DB273B1EE18B}"/>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a:p>
          </p:txBody>
        </p:sp>
      </p:grpSp>
      <p:grpSp>
        <p:nvGrpSpPr>
          <p:cNvPr id="4" name="Group 3">
            <a:extLst>
              <a:ext uri="{FF2B5EF4-FFF2-40B4-BE49-F238E27FC236}">
                <a16:creationId xmlns:a16="http://schemas.microsoft.com/office/drawing/2014/main" id="{00068369-6C63-44AF-3E4E-30E5F2D1F83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8F7E7875-967C-8167-6219-7AD2981B3A4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32FF"/>
                </a:gs>
                <a:gs pos="100000">
                  <a:srgbClr val="E95023"/>
                </a:gs>
              </a:gsLst>
              <a:lin ang="18720000" scaled="0"/>
              <a:tileRect/>
            </a:gradFill>
            <a:ln w="8181"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21672066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Frame 7">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EAFCAD8-0916-AF46-1471-030E4128E25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5" name="Group 4">
            <a:extLst>
              <a:ext uri="{FF2B5EF4-FFF2-40B4-BE49-F238E27FC236}">
                <a16:creationId xmlns:a16="http://schemas.microsoft.com/office/drawing/2014/main" id="{AA89752D-8E95-B790-7077-E6201AB412C3}"/>
              </a:ext>
            </a:extLst>
          </p:cNvPr>
          <p:cNvGrpSpPr/>
          <p:nvPr userDrawn="1"/>
        </p:nvGrpSpPr>
        <p:grpSpPr>
          <a:xfrm>
            <a:off x="485775" y="6164633"/>
            <a:ext cx="4940935" cy="318770"/>
            <a:chOff x="485775" y="6164633"/>
            <a:chExt cx="4940935" cy="318770"/>
          </a:xfrm>
        </p:grpSpPr>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grpSp>
      <p:grpSp>
        <p:nvGrpSpPr>
          <p:cNvPr id="4" name="Group 3">
            <a:extLst>
              <a:ext uri="{FF2B5EF4-FFF2-40B4-BE49-F238E27FC236}">
                <a16:creationId xmlns:a16="http://schemas.microsoft.com/office/drawing/2014/main" id="{D6FD7948-9E7C-1CE1-F28B-D2D349BB86F0}"/>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C5FD45"/>
                </a:gs>
                <a:gs pos="100000">
                  <a:srgbClr val="80FBFD"/>
                </a:gs>
              </a:gsLst>
              <a:lin ang="18720000" scaled="0"/>
              <a:tileRect/>
            </a:gradFill>
            <a:ln w="8181"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40693125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A blurry image of a colorful light&#10;&#10;Description automatically generated">
            <a:extLst>
              <a:ext uri="{FF2B5EF4-FFF2-40B4-BE49-F238E27FC236}">
                <a16:creationId xmlns:a16="http://schemas.microsoft.com/office/drawing/2014/main" id="{388CF986-E6D2-86D0-6501-D59429EAD0A3}"/>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9" name="Group 4">
            <a:extLst>
              <a:ext uri="{FF2B5EF4-FFF2-40B4-BE49-F238E27FC236}">
                <a16:creationId xmlns:a16="http://schemas.microsoft.com/office/drawing/2014/main" id="{7F8AD979-8542-1CC7-4CD2-87434D239693}"/>
              </a:ext>
            </a:extLst>
          </p:cNvPr>
          <p:cNvGrpSpPr>
            <a:grpSpLocks noChangeAspect="1"/>
          </p:cNvGrpSpPr>
          <p:nvPr userDrawn="1"/>
        </p:nvGrpSpPr>
        <p:grpSpPr bwMode="black">
          <a:xfrm>
            <a:off x="11369256" y="6276977"/>
            <a:ext cx="346158" cy="355219"/>
            <a:chOff x="7110" y="4004"/>
            <a:chExt cx="191" cy="196"/>
          </a:xfrm>
        </p:grpSpPr>
        <p:sp>
          <p:nvSpPr>
            <p:cNvPr id="10" name="Freeform 5">
              <a:extLst>
                <a:ext uri="{FF2B5EF4-FFF2-40B4-BE49-F238E27FC236}">
                  <a16:creationId xmlns:a16="http://schemas.microsoft.com/office/drawing/2014/main" id="{B723EA5F-F3B9-3E07-4D91-298FB9630071}"/>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1" name="Freeform 6">
              <a:extLst>
                <a:ext uri="{FF2B5EF4-FFF2-40B4-BE49-F238E27FC236}">
                  <a16:creationId xmlns:a16="http://schemas.microsoft.com/office/drawing/2014/main" id="{96D65FFF-23F5-C71D-D9C0-3B03671CE67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2" name="Freeform 7">
              <a:extLst>
                <a:ext uri="{FF2B5EF4-FFF2-40B4-BE49-F238E27FC236}">
                  <a16:creationId xmlns:a16="http://schemas.microsoft.com/office/drawing/2014/main" id="{D0F3E79B-8E5A-665A-83EC-1397ED5D45F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Tree>
    <p:extLst>
      <p:ext uri="{BB962C8B-B14F-4D97-AF65-F5344CB8AC3E}">
        <p14:creationId xmlns:p14="http://schemas.microsoft.com/office/powerpoint/2010/main" val="24547445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13" name="Picture 12" descr="A blurry image of a colorful light&#10;&#10;Description automatically generated">
            <a:extLst>
              <a:ext uri="{FF2B5EF4-FFF2-40B4-BE49-F238E27FC236}">
                <a16:creationId xmlns:a16="http://schemas.microsoft.com/office/drawing/2014/main" id="{ADC82D1B-1943-B3BC-B7E9-DADF1458A76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grpSp>
        <p:nvGrpSpPr>
          <p:cNvPr id="3" name="Group 4">
            <a:extLst>
              <a:ext uri="{FF2B5EF4-FFF2-40B4-BE49-F238E27FC236}">
                <a16:creationId xmlns:a16="http://schemas.microsoft.com/office/drawing/2014/main" id="{6745C785-317C-4454-FFFA-6B2CE9F46DA9}"/>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8F435021-B5F8-8330-2058-B50B58EB8DA7}"/>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5" name="Freeform 6">
              <a:extLst>
                <a:ext uri="{FF2B5EF4-FFF2-40B4-BE49-F238E27FC236}">
                  <a16:creationId xmlns:a16="http://schemas.microsoft.com/office/drawing/2014/main" id="{3944C984-0640-AAB7-335F-5B3871ABEB47}"/>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6" name="Freeform 7">
              <a:extLst>
                <a:ext uri="{FF2B5EF4-FFF2-40B4-BE49-F238E27FC236}">
                  <a16:creationId xmlns:a16="http://schemas.microsoft.com/office/drawing/2014/main" id="{D4EEEDB6-C2FA-4576-7DA4-4A6C519DDB2A}"/>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7" name="Footer Placeholder 2">
            <a:extLst>
              <a:ext uri="{FF2B5EF4-FFF2-40B4-BE49-F238E27FC236}">
                <a16:creationId xmlns:a16="http://schemas.microsoft.com/office/drawing/2014/main" id="{7C68F5CE-CD79-726D-C1EB-85B50E49AFBB}"/>
              </a:ext>
            </a:extLst>
          </p:cNvPr>
          <p:cNvSpPr txBox="1">
            <a:spLocks/>
          </p:cNvSpPr>
          <p:nvPr userDrawn="1"/>
        </p:nvSpPr>
        <p:spPr>
          <a:xfrm>
            <a:off x="880006" y="6437115"/>
            <a:ext cx="1280160" cy="123111"/>
          </a:xfrm>
          <a:prstGeom prst="rect">
            <a:avLst/>
          </a:prstGeom>
        </p:spPr>
        <p:txBody>
          <a:bodyPr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dirty="0">
                <a:latin typeface="+mn-lt"/>
              </a:rPr>
              <a:t>Form 990 and IRS updates</a:t>
            </a:r>
            <a:endParaRPr lang="en-US" dirty="0">
              <a:latin typeface="+mn-lt"/>
            </a:endParaRPr>
          </a:p>
        </p:txBody>
      </p:sp>
      <p:sp>
        <p:nvSpPr>
          <p:cNvPr id="9" name="Slide Number Placeholder 4">
            <a:extLst>
              <a:ext uri="{FF2B5EF4-FFF2-40B4-BE49-F238E27FC236}">
                <a16:creationId xmlns:a16="http://schemas.microsoft.com/office/drawing/2014/main" id="{CFF29F9F-9331-387D-958B-A895B3DD59BD}"/>
              </a:ext>
            </a:extLst>
          </p:cNvPr>
          <p:cNvSpPr txBox="1">
            <a:spLocks/>
          </p:cNvSpPr>
          <p:nvPr userDrawn="1"/>
        </p:nvSpPr>
        <p:spPr>
          <a:xfrm>
            <a:off x="479425" y="6437115"/>
            <a:ext cx="182880" cy="123111"/>
          </a:xfrm>
          <a:prstGeom prst="rect">
            <a:avLst/>
          </a:prstGeom>
        </p:spPr>
        <p:txBody>
          <a:bodyPr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D5B76411-544C-4F9A-8EDE-9EEB2BD21F95}" type="slidenum">
              <a:rPr lang="en-IN" smtClean="0">
                <a:solidFill>
                  <a:srgbClr val="FFE600"/>
                </a:solidFill>
                <a:latin typeface="+mn-lt"/>
              </a:rPr>
              <a:t>‹#›</a:t>
            </a:fld>
            <a:endParaRPr dirty="0">
              <a:solidFill>
                <a:srgbClr val="FFE600"/>
              </a:solidFill>
              <a:latin typeface="+mn-lt"/>
            </a:endParaRPr>
          </a:p>
        </p:txBody>
      </p:sp>
      <p:sp>
        <p:nvSpPr>
          <p:cNvPr id="10" name="Oval 9">
            <a:extLst>
              <a:ext uri="{FF2B5EF4-FFF2-40B4-BE49-F238E27FC236}">
                <a16:creationId xmlns:a16="http://schemas.microsoft.com/office/drawing/2014/main" id="{6B89F8EC-38EF-6916-8E11-936BC50F2563}"/>
              </a:ext>
            </a:extLst>
          </p:cNvPr>
          <p:cNvSpPr/>
          <p:nvPr userDrawn="1"/>
        </p:nvSpPr>
        <p:spPr>
          <a:xfrm>
            <a:off x="2234725" y="6470568"/>
            <a:ext cx="56205" cy="56205"/>
          </a:xfrm>
          <a:prstGeom prst="ellipse">
            <a:avLst/>
          </a:prstGeom>
          <a:noFill/>
          <a:ln w="12700" cap="flat" cmpd="sng" algn="ctr">
            <a:solidFill>
              <a:srgbClr val="FFE6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IN" sz="2000" dirty="0" err="1">
              <a:solidFill>
                <a:schemeClr val="tx1"/>
              </a:solidFill>
            </a:endParaRPr>
          </a:p>
        </p:txBody>
      </p:sp>
      <p:sp>
        <p:nvSpPr>
          <p:cNvPr id="11" name="Oval 10">
            <a:extLst>
              <a:ext uri="{FF2B5EF4-FFF2-40B4-BE49-F238E27FC236}">
                <a16:creationId xmlns:a16="http://schemas.microsoft.com/office/drawing/2014/main" id="{4CC60421-39ED-14D5-8CB9-DCF78C807F67}"/>
              </a:ext>
            </a:extLst>
          </p:cNvPr>
          <p:cNvSpPr/>
          <p:nvPr userDrawn="1"/>
        </p:nvSpPr>
        <p:spPr>
          <a:xfrm>
            <a:off x="2369485" y="6470568"/>
            <a:ext cx="56205" cy="56205"/>
          </a:xfrm>
          <a:prstGeom prst="ellipse">
            <a:avLst/>
          </a:prstGeom>
          <a:noFill/>
          <a:ln w="12700" cap="flat" cmpd="sng" algn="ctr">
            <a:solidFill>
              <a:srgbClr val="74748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IN" sz="2000" dirty="0" err="1">
              <a:solidFill>
                <a:schemeClr val="tx1"/>
              </a:solidFill>
            </a:endParaRPr>
          </a:p>
        </p:txBody>
      </p:sp>
      <p:sp>
        <p:nvSpPr>
          <p:cNvPr id="12" name="Oval 11">
            <a:extLst>
              <a:ext uri="{FF2B5EF4-FFF2-40B4-BE49-F238E27FC236}">
                <a16:creationId xmlns:a16="http://schemas.microsoft.com/office/drawing/2014/main" id="{D750B01F-4F5D-62F6-773B-4BC8419BC564}"/>
              </a:ext>
            </a:extLst>
          </p:cNvPr>
          <p:cNvSpPr/>
          <p:nvPr userDrawn="1"/>
        </p:nvSpPr>
        <p:spPr>
          <a:xfrm>
            <a:off x="2504245" y="6470568"/>
            <a:ext cx="56205" cy="56205"/>
          </a:xfrm>
          <a:prstGeom prst="ellipse">
            <a:avLst/>
          </a:prstGeom>
          <a:noFill/>
          <a:ln w="12700" cap="flat" cmpd="sng" algn="ctr">
            <a:solidFill>
              <a:srgbClr val="C4C4CD"/>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IN" sz="2000" dirty="0" err="1">
              <a:solidFill>
                <a:schemeClr val="tx1"/>
              </a:solidFill>
            </a:endParaRPr>
          </a:p>
        </p:txBody>
      </p:sp>
    </p:spTree>
    <p:extLst>
      <p:ext uri="{BB962C8B-B14F-4D97-AF65-F5344CB8AC3E}">
        <p14:creationId xmlns:p14="http://schemas.microsoft.com/office/powerpoint/2010/main" val="26380348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Header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A6C92DE9-1F7F-6A8E-389D-FBCE38254AD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4" name="Group 4">
            <a:extLst>
              <a:ext uri="{FF2B5EF4-FFF2-40B4-BE49-F238E27FC236}">
                <a16:creationId xmlns:a16="http://schemas.microsoft.com/office/drawing/2014/main" id="{57078BE8-1131-644C-7B7D-AF8352589CED}"/>
              </a:ext>
            </a:extLst>
          </p:cNvPr>
          <p:cNvGrpSpPr>
            <a:grpSpLocks noChangeAspect="1"/>
          </p:cNvGrpSpPr>
          <p:nvPr userDrawn="1"/>
        </p:nvGrpSpPr>
        <p:grpSpPr bwMode="black">
          <a:xfrm>
            <a:off x="11369256" y="6276977"/>
            <a:ext cx="346158" cy="355219"/>
            <a:chOff x="7110" y="4004"/>
            <a:chExt cx="191" cy="196"/>
          </a:xfrm>
        </p:grpSpPr>
        <p:sp>
          <p:nvSpPr>
            <p:cNvPr id="5" name="Freeform 5">
              <a:extLst>
                <a:ext uri="{FF2B5EF4-FFF2-40B4-BE49-F238E27FC236}">
                  <a16:creationId xmlns:a16="http://schemas.microsoft.com/office/drawing/2014/main" id="{220216D6-2295-E44E-85E9-09102951CDE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6" name="Freeform 6">
              <a:extLst>
                <a:ext uri="{FF2B5EF4-FFF2-40B4-BE49-F238E27FC236}">
                  <a16:creationId xmlns:a16="http://schemas.microsoft.com/office/drawing/2014/main" id="{2D9ECA41-0746-A347-EE2E-AB979CE22546}"/>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7" name="Freeform 7">
              <a:extLst>
                <a:ext uri="{FF2B5EF4-FFF2-40B4-BE49-F238E27FC236}">
                  <a16:creationId xmlns:a16="http://schemas.microsoft.com/office/drawing/2014/main" id="{E09BE7A3-2BBF-30ED-653F-2309F4F46EA2}"/>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Tree>
    <p:extLst>
      <p:ext uri="{BB962C8B-B14F-4D97-AF65-F5344CB8AC3E}">
        <p14:creationId xmlns:p14="http://schemas.microsoft.com/office/powerpoint/2010/main" val="10752540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4">
    <p:spTree>
      <p:nvGrpSpPr>
        <p:cNvPr id="1" name=""/>
        <p:cNvGrpSpPr/>
        <p:nvPr/>
      </p:nvGrpSpPr>
      <p:grpSpPr>
        <a:xfrm>
          <a:off x="0" y="0"/>
          <a:ext cx="0" cy="0"/>
          <a:chOff x="0" y="0"/>
          <a:chExt cx="0" cy="0"/>
        </a:xfrm>
      </p:grpSpPr>
      <p:pic>
        <p:nvPicPr>
          <p:cNvPr id="13" name="Picture 12" descr="A blurry image of a rainbow&#10;&#10;Description automatically generated">
            <a:extLst>
              <a:ext uri="{FF2B5EF4-FFF2-40B4-BE49-F238E27FC236}">
                <a16:creationId xmlns:a16="http://schemas.microsoft.com/office/drawing/2014/main" id="{C8E8709F-6A78-59BB-D254-AE4C7F2A57D8}"/>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7" name="Group 4">
            <a:extLst>
              <a:ext uri="{FF2B5EF4-FFF2-40B4-BE49-F238E27FC236}">
                <a16:creationId xmlns:a16="http://schemas.microsoft.com/office/drawing/2014/main" id="{2C6AFE4F-F119-873B-BC32-65AEE32FEFD8}"/>
              </a:ext>
            </a:extLst>
          </p:cNvPr>
          <p:cNvGrpSpPr>
            <a:grpSpLocks noChangeAspect="1"/>
          </p:cNvGrpSpPr>
          <p:nvPr userDrawn="1"/>
        </p:nvGrpSpPr>
        <p:grpSpPr bwMode="black">
          <a:xfrm>
            <a:off x="11369256" y="6276977"/>
            <a:ext cx="346158" cy="355219"/>
            <a:chOff x="7110" y="4004"/>
            <a:chExt cx="191" cy="196"/>
          </a:xfrm>
        </p:grpSpPr>
        <p:sp>
          <p:nvSpPr>
            <p:cNvPr id="9" name="Freeform 5">
              <a:extLst>
                <a:ext uri="{FF2B5EF4-FFF2-40B4-BE49-F238E27FC236}">
                  <a16:creationId xmlns:a16="http://schemas.microsoft.com/office/drawing/2014/main" id="{86899C81-0230-7DF5-AB36-74267A5BCA0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0" name="Freeform 6">
              <a:extLst>
                <a:ext uri="{FF2B5EF4-FFF2-40B4-BE49-F238E27FC236}">
                  <a16:creationId xmlns:a16="http://schemas.microsoft.com/office/drawing/2014/main" id="{307EDCAF-C8F9-A48B-E23D-CCB6242C740D}"/>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1" name="Freeform 7">
              <a:extLst>
                <a:ext uri="{FF2B5EF4-FFF2-40B4-BE49-F238E27FC236}">
                  <a16:creationId xmlns:a16="http://schemas.microsoft.com/office/drawing/2014/main" id="{3B13B5A6-630E-F8A8-984B-A65DFBE7468F}"/>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Tree>
    <p:extLst>
      <p:ext uri="{BB962C8B-B14F-4D97-AF65-F5344CB8AC3E}">
        <p14:creationId xmlns:p14="http://schemas.microsoft.com/office/powerpoint/2010/main" val="5426202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Header 5">
    <p:spTree>
      <p:nvGrpSpPr>
        <p:cNvPr id="1" name=""/>
        <p:cNvGrpSpPr/>
        <p:nvPr/>
      </p:nvGrpSpPr>
      <p:grpSpPr>
        <a:xfrm>
          <a:off x="0" y="0"/>
          <a:ext cx="0" cy="0"/>
          <a:chOff x="0" y="0"/>
          <a:chExt cx="0" cy="0"/>
        </a:xfrm>
      </p:grpSpPr>
      <p:pic>
        <p:nvPicPr>
          <p:cNvPr id="7" name="Picture 6" descr="A colorful circle on a black background&#10;&#10;Description automatically generated">
            <a:extLst>
              <a:ext uri="{FF2B5EF4-FFF2-40B4-BE49-F238E27FC236}">
                <a16:creationId xmlns:a16="http://schemas.microsoft.com/office/drawing/2014/main" id="{9B1A0959-0F7F-FF84-F8C5-2E76E9D45F4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197040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313932"/>
          </a:xfrm>
        </p:spPr>
        <p:txBody>
          <a:bodyPr>
            <a:noAutofit/>
          </a:bodyPr>
          <a:lstStyle>
            <a:lvl1pPr marL="0" indent="0">
              <a:lnSpc>
                <a:spcPct val="85000"/>
              </a:lnSpc>
              <a:buNone/>
              <a:defRPr lang="en-US" sz="2400" b="1" i="0" kern="1200" dirty="0">
                <a:solidFill>
                  <a:schemeClr val="tx2"/>
                </a:solidFill>
                <a:latin typeface="EYInterstate" panose="02000503020000020004" pitchFamily="2" charset="0"/>
                <a:ea typeface="+mj-ea"/>
                <a:cs typeface="Arial" pitchFamily="34" charset="0"/>
              </a:defRPr>
            </a:lvl1pPr>
          </a:lstStyle>
          <a:p>
            <a:pPr lvl="0"/>
            <a:r>
              <a:rPr lang="en-GB" dirty="0"/>
              <a:t>Chapter 00</a:t>
            </a:r>
            <a:endParaRPr lang="en-US" dirty="0"/>
          </a:p>
        </p:txBody>
      </p:sp>
      <p:grpSp>
        <p:nvGrpSpPr>
          <p:cNvPr id="3" name="Group 4">
            <a:extLst>
              <a:ext uri="{FF2B5EF4-FFF2-40B4-BE49-F238E27FC236}">
                <a16:creationId xmlns:a16="http://schemas.microsoft.com/office/drawing/2014/main" id="{F288159A-7C48-1C07-50FC-8F7D8559BF61}"/>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F2C5552B-2F76-F2C7-FA60-7AED59B7655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5" name="Freeform 6">
              <a:extLst>
                <a:ext uri="{FF2B5EF4-FFF2-40B4-BE49-F238E27FC236}">
                  <a16:creationId xmlns:a16="http://schemas.microsoft.com/office/drawing/2014/main" id="{E3C4F5CE-6F0C-45EA-8C1B-EA936294D824}"/>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6" name="Freeform 7">
              <a:extLst>
                <a:ext uri="{FF2B5EF4-FFF2-40B4-BE49-F238E27FC236}">
                  <a16:creationId xmlns:a16="http://schemas.microsoft.com/office/drawing/2014/main" id="{4E116A81-3AFB-B9FA-0679-241EC8863055}"/>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Tree>
    <p:extLst>
      <p:ext uri="{BB962C8B-B14F-4D97-AF65-F5344CB8AC3E}">
        <p14:creationId xmlns:p14="http://schemas.microsoft.com/office/powerpoint/2010/main" val="9092435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Header 6">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36630E4E-7F64-A84B-6022-F16994E95375}"/>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DCB74E28-9D0B-F1B4-F101-2628EB1EA46E}"/>
              </a:ext>
            </a:extLst>
          </p:cNvPr>
          <p:cNvSpPr>
            <a:spLocks noGrp="1"/>
          </p:cNvSpPr>
          <p:nvPr>
            <p:ph type="title"/>
          </p:nvPr>
        </p:nvSpPr>
        <p:spPr>
          <a:xfrm>
            <a:off x="485775" y="3053616"/>
            <a:ext cx="7394575" cy="2869882"/>
          </a:xfrm>
        </p:spPr>
        <p:txBody>
          <a:bodyPr anchor="t"/>
          <a:lstStyle>
            <a:lvl1pPr>
              <a:defRPr sz="6000">
                <a:solidFill>
                  <a:schemeClr val="bg1"/>
                </a:solidFill>
              </a:defRPr>
            </a:lvl1pPr>
          </a:lstStyle>
          <a:p>
            <a:r>
              <a:rPr lang="en-GB" dirty="0"/>
              <a:t>Click to edit Master title style</a:t>
            </a:r>
            <a:endParaRPr lang="en-US" dirty="0"/>
          </a:p>
        </p:txBody>
      </p:sp>
      <p:sp>
        <p:nvSpPr>
          <p:cNvPr id="8" name="Text Placeholder 7">
            <a:extLst>
              <a:ext uri="{FF2B5EF4-FFF2-40B4-BE49-F238E27FC236}">
                <a16:creationId xmlns:a16="http://schemas.microsoft.com/office/drawing/2014/main" id="{A475298B-22BF-3DF1-FBE7-DF673E5A2734}"/>
              </a:ext>
            </a:extLst>
          </p:cNvPr>
          <p:cNvSpPr>
            <a:spLocks noGrp="1"/>
          </p:cNvSpPr>
          <p:nvPr>
            <p:ph type="body" sz="quarter" idx="13" hasCustomPrompt="1"/>
          </p:nvPr>
        </p:nvSpPr>
        <p:spPr>
          <a:xfrm>
            <a:off x="485775" y="370800"/>
            <a:ext cx="7394575" cy="2169200"/>
          </a:xfrm>
        </p:spPr>
        <p:txBody>
          <a:bodyPr lIns="0" tIns="0" rIns="0" bIns="0" anchor="b">
            <a:noAutofit/>
          </a:bodyPr>
          <a:lstStyle>
            <a:lvl1pPr marL="0" indent="0">
              <a:lnSpc>
                <a:spcPct val="85000"/>
              </a:lnSpc>
              <a:spcAft>
                <a:spcPts val="0"/>
              </a:spcAft>
              <a:buNone/>
              <a:defRPr kumimoji="0" lang="en-US" sz="16600" b="1" i="0" u="none" strike="noStrike" kern="1200" cap="none" spc="0" normalizeH="0" baseline="0" dirty="0">
                <a:ln>
                  <a:noFill/>
                </a:ln>
                <a:solidFill>
                  <a:srgbClr val="747480">
                    <a:alpha val="50000"/>
                  </a:srgbClr>
                </a:solidFill>
                <a:effectLst/>
                <a:uLnTx/>
                <a:uFillTx/>
                <a:latin typeface="EYInterstate Light" panose="02000506000000020004" pitchFamily="2" charset="0"/>
                <a:ea typeface="+mn-ea"/>
                <a:cs typeface="+mn-cs"/>
              </a:defRPr>
            </a:lvl1pPr>
          </a:lstStyle>
          <a:p>
            <a:pPr marL="0" marR="0" lvl="0" indent="0" algn="l" defTabSz="1007887" rtl="0" eaLnBrk="1" fontAlgn="auto" latinLnBrk="0" hangingPunct="1">
              <a:lnSpc>
                <a:spcPct val="100000"/>
              </a:lnSpc>
              <a:spcBef>
                <a:spcPts val="0"/>
              </a:spcBef>
              <a:spcAft>
                <a:spcPts val="200"/>
              </a:spcAft>
              <a:buClrTx/>
              <a:buSzTx/>
              <a:buFont typeface="Arial" panose="020B0604020202020204" pitchFamily="34" charset="0"/>
              <a:buNone/>
              <a:tabLst/>
              <a:defRPr/>
            </a:pPr>
            <a:r>
              <a:rPr lang="en-GB" dirty="0"/>
              <a:t>00</a:t>
            </a:r>
            <a:endParaRPr lang="en-US" dirty="0"/>
          </a:p>
        </p:txBody>
      </p:sp>
      <p:grpSp>
        <p:nvGrpSpPr>
          <p:cNvPr id="3" name="Group 4">
            <a:extLst>
              <a:ext uri="{FF2B5EF4-FFF2-40B4-BE49-F238E27FC236}">
                <a16:creationId xmlns:a16="http://schemas.microsoft.com/office/drawing/2014/main" id="{E6D21E2B-23D8-463B-2582-9FD3BAC13E59}"/>
              </a:ext>
            </a:extLst>
          </p:cNvPr>
          <p:cNvGrpSpPr>
            <a:grpSpLocks noChangeAspect="1"/>
          </p:cNvGrpSpPr>
          <p:nvPr userDrawn="1"/>
        </p:nvGrpSpPr>
        <p:grpSpPr bwMode="black">
          <a:xfrm>
            <a:off x="11369256" y="6276977"/>
            <a:ext cx="346158" cy="355219"/>
            <a:chOff x="7110" y="4004"/>
            <a:chExt cx="191" cy="196"/>
          </a:xfrm>
        </p:grpSpPr>
        <p:sp>
          <p:nvSpPr>
            <p:cNvPr id="4" name="Freeform 5">
              <a:extLst>
                <a:ext uri="{FF2B5EF4-FFF2-40B4-BE49-F238E27FC236}">
                  <a16:creationId xmlns:a16="http://schemas.microsoft.com/office/drawing/2014/main" id="{8B3BC5D4-40BF-9012-B76B-B4F41BB147C3}"/>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6" name="Freeform 6">
              <a:extLst>
                <a:ext uri="{FF2B5EF4-FFF2-40B4-BE49-F238E27FC236}">
                  <a16:creationId xmlns:a16="http://schemas.microsoft.com/office/drawing/2014/main" id="{CD2350F0-611C-7CB1-8668-F3F06893FDB0}"/>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7" name="Freeform 7">
              <a:extLst>
                <a:ext uri="{FF2B5EF4-FFF2-40B4-BE49-F238E27FC236}">
                  <a16:creationId xmlns:a16="http://schemas.microsoft.com/office/drawing/2014/main" id="{2693D47D-C136-D277-4DA0-1C66C74DF03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Tree>
    <p:extLst>
      <p:ext uri="{BB962C8B-B14F-4D97-AF65-F5344CB8AC3E}">
        <p14:creationId xmlns:p14="http://schemas.microsoft.com/office/powerpoint/2010/main" val="25317957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pic>
        <p:nvPicPr>
          <p:cNvPr id="11" name="Picture 10" descr="A blurry image of a rainbow&#10;&#10;Description automatically generated">
            <a:extLst>
              <a:ext uri="{FF2B5EF4-FFF2-40B4-BE49-F238E27FC236}">
                <a16:creationId xmlns:a16="http://schemas.microsoft.com/office/drawing/2014/main" id="{0CF60EBF-BB0E-A13F-6F1D-8E03C5FC39A6}"/>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2" name="Title 1">
            <a:extLst>
              <a:ext uri="{FF2B5EF4-FFF2-40B4-BE49-F238E27FC236}">
                <a16:creationId xmlns:a16="http://schemas.microsoft.com/office/drawing/2014/main" id="{3930FFC6-DEA1-5FCD-0ABD-350186ADBF5D}"/>
              </a:ext>
            </a:extLst>
          </p:cNvPr>
          <p:cNvSpPr>
            <a:spLocks noGrp="1"/>
          </p:cNvSpPr>
          <p:nvPr>
            <p:ph type="title" hasCustomPrompt="1"/>
          </p:nvPr>
        </p:nvSpPr>
        <p:spPr>
          <a:xfrm>
            <a:off x="485523" y="369888"/>
            <a:ext cx="3314701" cy="470898"/>
          </a:xfrm>
        </p:spPr>
        <p:txBody>
          <a:bodyPr/>
          <a:lstStyle/>
          <a:p>
            <a:r>
              <a:rPr lang="en-GB" dirty="0"/>
              <a:t>Contents</a:t>
            </a:r>
            <a:endParaRPr lang="en-US" dirty="0"/>
          </a:p>
        </p:txBody>
      </p:sp>
      <p:sp>
        <p:nvSpPr>
          <p:cNvPr id="7" name="Text Placeholder 6">
            <a:extLst>
              <a:ext uri="{FF2B5EF4-FFF2-40B4-BE49-F238E27FC236}">
                <a16:creationId xmlns:a16="http://schemas.microsoft.com/office/drawing/2014/main" id="{7B8AEA00-448F-1217-B10E-ABF6D402B4CB}"/>
              </a:ext>
            </a:extLst>
          </p:cNvPr>
          <p:cNvSpPr>
            <a:spLocks noGrp="1"/>
          </p:cNvSpPr>
          <p:nvPr>
            <p:ph type="body" sz="quarter" idx="15" hasCustomPrompt="1"/>
          </p:nvPr>
        </p:nvSpPr>
        <p:spPr>
          <a:xfrm>
            <a:off x="485775" y="1411287"/>
            <a:ext cx="5099050" cy="4638675"/>
          </a:xfrm>
        </p:spPr>
        <p:txBody>
          <a:bodyPr/>
          <a:lstStyle>
            <a:lvl1pPr>
              <a:defRPr sz="2400"/>
            </a:lvl1pPr>
            <a:lvl2pPr>
              <a:defRPr sz="2400"/>
            </a:lvl2pPr>
            <a:lvl3pPr>
              <a:defRPr sz="2000"/>
            </a:lvl3pPr>
            <a:lvl4pPr>
              <a:defRPr sz="1800"/>
            </a:lvl4pPr>
            <a:lvl5pPr>
              <a:defRPr sz="1800"/>
            </a:lvl5pPr>
          </a:lstStyle>
          <a:p>
            <a:pPr lvl="0"/>
            <a:r>
              <a:rPr lang="en-GB" dirty="0"/>
              <a:t>Introduction text goes here and delete the bullet if not require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Text Placeholder 6">
            <a:extLst>
              <a:ext uri="{FF2B5EF4-FFF2-40B4-BE49-F238E27FC236}">
                <a16:creationId xmlns:a16="http://schemas.microsoft.com/office/drawing/2014/main" id="{4A244641-8AF5-E5A2-18FB-105E0DDC424F}"/>
              </a:ext>
            </a:extLst>
          </p:cNvPr>
          <p:cNvSpPr>
            <a:spLocks noGrp="1"/>
          </p:cNvSpPr>
          <p:nvPr>
            <p:ph type="body" sz="quarter" idx="21" hasCustomPrompt="1"/>
          </p:nvPr>
        </p:nvSpPr>
        <p:spPr>
          <a:xfrm>
            <a:off x="6099647" y="1411287"/>
            <a:ext cx="5610225" cy="4638675"/>
          </a:xfrm>
        </p:spPr>
        <p:txBody>
          <a:bodyPr/>
          <a:lstStyle>
            <a:lvl1pPr marL="457200" indent="-457200">
              <a:buFont typeface="+mj-lt"/>
              <a:buAutoNum type="arabicPeriod"/>
              <a:defRPr sz="1800"/>
            </a:lvl1pPr>
            <a:lvl2pPr marL="914400" indent="-457200">
              <a:defRPr sz="1600"/>
            </a:lvl2pPr>
            <a:lvl3pPr marL="914400" indent="-457200">
              <a:defRPr sz="1600"/>
            </a:lvl3pPr>
            <a:lvl4pPr marL="914400" indent="-457200">
              <a:defRPr sz="1400"/>
            </a:lvl4pPr>
            <a:lvl5pPr marL="914400" indent="-457200">
              <a:defRPr sz="1400"/>
            </a:lvl5pPr>
          </a:lstStyle>
          <a:p>
            <a:pPr lvl="0"/>
            <a:r>
              <a:rPr lang="en-IN" dirty="0"/>
              <a:t>Section header goes here and to insert page numbers use the tab button on the keyboard</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3" name="Group 4">
            <a:extLst>
              <a:ext uri="{FF2B5EF4-FFF2-40B4-BE49-F238E27FC236}">
                <a16:creationId xmlns:a16="http://schemas.microsoft.com/office/drawing/2014/main" id="{A73022D2-B2DD-2636-3681-D4BBDB34288F}"/>
              </a:ext>
            </a:extLst>
          </p:cNvPr>
          <p:cNvGrpSpPr>
            <a:grpSpLocks noChangeAspect="1"/>
          </p:cNvGrpSpPr>
          <p:nvPr userDrawn="1"/>
        </p:nvGrpSpPr>
        <p:grpSpPr bwMode="black">
          <a:xfrm>
            <a:off x="11369256" y="6276977"/>
            <a:ext cx="346158" cy="355219"/>
            <a:chOff x="7110" y="4004"/>
            <a:chExt cx="191" cy="196"/>
          </a:xfrm>
        </p:grpSpPr>
        <p:sp>
          <p:nvSpPr>
            <p:cNvPr id="5" name="Freeform 5">
              <a:extLst>
                <a:ext uri="{FF2B5EF4-FFF2-40B4-BE49-F238E27FC236}">
                  <a16:creationId xmlns:a16="http://schemas.microsoft.com/office/drawing/2014/main" id="{D8FD926C-DD40-4E50-BCB8-5B99D6C74B72}"/>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6" name="Freeform 6">
              <a:extLst>
                <a:ext uri="{FF2B5EF4-FFF2-40B4-BE49-F238E27FC236}">
                  <a16:creationId xmlns:a16="http://schemas.microsoft.com/office/drawing/2014/main" id="{19351E26-728A-9509-F1C9-463C5F0A75C8}"/>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8" name="Freeform 7">
              <a:extLst>
                <a:ext uri="{FF2B5EF4-FFF2-40B4-BE49-F238E27FC236}">
                  <a16:creationId xmlns:a16="http://schemas.microsoft.com/office/drawing/2014/main" id="{D0A07C93-ECC1-F080-CC7F-8E8F73BDCCA1}"/>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Tree>
    <p:extLst>
      <p:ext uri="{BB962C8B-B14F-4D97-AF65-F5344CB8AC3E}">
        <p14:creationId xmlns:p14="http://schemas.microsoft.com/office/powerpoint/2010/main" val="4184434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2">
    <p:spTree>
      <p:nvGrpSpPr>
        <p:cNvPr id="1" name=""/>
        <p:cNvGrpSpPr/>
        <p:nvPr/>
      </p:nvGrpSpPr>
      <p:grpSpPr>
        <a:xfrm>
          <a:off x="0" y="0"/>
          <a:ext cx="0" cy="0"/>
          <a:chOff x="0" y="0"/>
          <a:chExt cx="0" cy="0"/>
        </a:xfrm>
      </p:grpSpPr>
      <p:pic>
        <p:nvPicPr>
          <p:cNvPr id="6" name="Picture 5" descr="A bright light in the dark&#10;&#10;Description automatically generated">
            <a:extLst>
              <a:ext uri="{FF2B5EF4-FFF2-40B4-BE49-F238E27FC236}">
                <a16:creationId xmlns:a16="http://schemas.microsoft.com/office/drawing/2014/main" id="{963FEC0B-473D-E3B8-1E1E-E29DFA66AD11}"/>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16" name="Group 15">
            <a:extLst>
              <a:ext uri="{FF2B5EF4-FFF2-40B4-BE49-F238E27FC236}">
                <a16:creationId xmlns:a16="http://schemas.microsoft.com/office/drawing/2014/main" id="{D6511197-B1BA-E6CC-13B8-2DD99B355A04}"/>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1EE8315B-FEB1-CC4D-6FB1-F5D1F2C1EE95}"/>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F51C6EC0-0FDE-C123-7424-1752D2374435}"/>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a:p>
          </p:txBody>
        </p:sp>
      </p:grpSp>
      <p:grpSp>
        <p:nvGrpSpPr>
          <p:cNvPr id="3" name="Group 2">
            <a:extLst>
              <a:ext uri="{FF2B5EF4-FFF2-40B4-BE49-F238E27FC236}">
                <a16:creationId xmlns:a16="http://schemas.microsoft.com/office/drawing/2014/main" id="{DFB16D98-C784-FAB9-BCBC-EA53480E5BA8}"/>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4788DF65-E85A-7EA9-F2BB-B439D5C7EB16}"/>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DB6421F7-1BA7-70C3-4C7B-0694CD3F9A6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grpSp>
        <p:nvGrpSpPr>
          <p:cNvPr id="2" name="Group 1">
            <a:extLst>
              <a:ext uri="{FF2B5EF4-FFF2-40B4-BE49-F238E27FC236}">
                <a16:creationId xmlns:a16="http://schemas.microsoft.com/office/drawing/2014/main" id="{E0E8BD61-2DD9-6340-EB16-98CFEA0A221D}"/>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B4038A11-FAB8-DE3A-2D5D-3D1F11925688}"/>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27" name="Freeform 26">
              <a:extLst>
                <a:ext uri="{FF2B5EF4-FFF2-40B4-BE49-F238E27FC236}">
                  <a16:creationId xmlns:a16="http://schemas.microsoft.com/office/drawing/2014/main" id="{FD45E8E5-E623-933A-074B-D3B9860ABECB}"/>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
        <p:nvSpPr>
          <p:cNvPr id="28" name="Subtitle 2">
            <a:extLst>
              <a:ext uri="{FF2B5EF4-FFF2-40B4-BE49-F238E27FC236}">
                <a16:creationId xmlns:a16="http://schemas.microsoft.com/office/drawing/2014/main" id="{4CE2B77E-5DDA-CC5C-A575-69779E57947F}"/>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2C2EB3B4-62C2-DB27-F905-7B5310DF5CFC}"/>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41B1F747-977A-C01C-9182-B92C691E57F0}"/>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spTree>
    <p:extLst>
      <p:ext uri="{BB962C8B-B14F-4D97-AF65-F5344CB8AC3E}">
        <p14:creationId xmlns:p14="http://schemas.microsoft.com/office/powerpoint/2010/main" val="83376136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8" name="Picture 7" descr="A bright light in the dark&#10;&#10;Description automatically generated">
            <a:extLst>
              <a:ext uri="{FF2B5EF4-FFF2-40B4-BE49-F238E27FC236}">
                <a16:creationId xmlns:a16="http://schemas.microsoft.com/office/drawing/2014/main" id="{C6893964-B096-BBF5-42BC-1EAE055022BA}"/>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17" name="Text Placeholder 9">
            <a:extLst>
              <a:ext uri="{FF2B5EF4-FFF2-40B4-BE49-F238E27FC236}">
                <a16:creationId xmlns:a16="http://schemas.microsoft.com/office/drawing/2014/main" id="{B9199D71-1BDD-2925-CD92-9B0B3F8439E9}"/>
              </a:ext>
            </a:extLst>
          </p:cNvPr>
          <p:cNvSpPr>
            <a:spLocks noGrp="1"/>
          </p:cNvSpPr>
          <p:nvPr>
            <p:ph type="body" sz="quarter" idx="28" hasCustomPrompt="1"/>
          </p:nvPr>
        </p:nvSpPr>
        <p:spPr>
          <a:xfrm>
            <a:off x="2756521" y="1411287"/>
            <a:ext cx="1873220" cy="2031325"/>
          </a:xfrm>
        </p:spPr>
        <p:txBody>
          <a:bodyPr wrap="square">
            <a:spAutoFit/>
          </a:bodyPr>
          <a:lstStyle>
            <a:lvl1pPr marL="0" indent="0">
              <a:buNone/>
              <a:defRPr sz="13200"/>
            </a:lvl1pPr>
          </a:lstStyle>
          <a:p>
            <a:pPr lvl="0"/>
            <a:r>
              <a:rPr lang="en-GB" dirty="0"/>
              <a:t>0</a:t>
            </a:r>
            <a:endParaRPr lang="en-US" dirty="0"/>
          </a:p>
        </p:txBody>
      </p:sp>
      <p:sp>
        <p:nvSpPr>
          <p:cNvPr id="19" name="Text Placeholder 6">
            <a:extLst>
              <a:ext uri="{FF2B5EF4-FFF2-40B4-BE49-F238E27FC236}">
                <a16:creationId xmlns:a16="http://schemas.microsoft.com/office/drawing/2014/main" id="{F8391354-FDE4-DE4D-8084-A61467B9F410}"/>
              </a:ext>
            </a:extLst>
          </p:cNvPr>
          <p:cNvSpPr>
            <a:spLocks noGrp="1"/>
          </p:cNvSpPr>
          <p:nvPr>
            <p:ph type="body" sz="quarter" idx="29" hasCustomPrompt="1"/>
          </p:nvPr>
        </p:nvSpPr>
        <p:spPr>
          <a:xfrm flipH="1">
            <a:off x="2845421"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0" name="Text Placeholder 9">
            <a:extLst>
              <a:ext uri="{FF2B5EF4-FFF2-40B4-BE49-F238E27FC236}">
                <a16:creationId xmlns:a16="http://schemas.microsoft.com/office/drawing/2014/main" id="{F575A1BC-5BD6-1793-C917-0720FC3DE980}"/>
              </a:ext>
            </a:extLst>
          </p:cNvPr>
          <p:cNvSpPr>
            <a:spLocks noGrp="1"/>
          </p:cNvSpPr>
          <p:nvPr>
            <p:ph type="body" sz="quarter" idx="30" hasCustomPrompt="1"/>
          </p:nvPr>
        </p:nvSpPr>
        <p:spPr>
          <a:xfrm>
            <a:off x="5116419" y="1411287"/>
            <a:ext cx="1873220" cy="2031325"/>
          </a:xfrm>
        </p:spPr>
        <p:txBody>
          <a:bodyPr wrap="square">
            <a:spAutoFit/>
          </a:bodyPr>
          <a:lstStyle>
            <a:lvl1pPr marL="0" indent="0">
              <a:buNone/>
              <a:defRPr sz="13200"/>
            </a:lvl1pPr>
          </a:lstStyle>
          <a:p>
            <a:pPr lvl="0"/>
            <a:r>
              <a:rPr lang="en-GB" dirty="0"/>
              <a:t>0</a:t>
            </a:r>
            <a:endParaRPr lang="en-US" dirty="0"/>
          </a:p>
        </p:txBody>
      </p:sp>
      <p:sp>
        <p:nvSpPr>
          <p:cNvPr id="22" name="Text Placeholder 6">
            <a:extLst>
              <a:ext uri="{FF2B5EF4-FFF2-40B4-BE49-F238E27FC236}">
                <a16:creationId xmlns:a16="http://schemas.microsoft.com/office/drawing/2014/main" id="{F9CBCE1B-3F39-C7B5-CCE2-AE84242E7749}"/>
              </a:ext>
            </a:extLst>
          </p:cNvPr>
          <p:cNvSpPr>
            <a:spLocks noGrp="1"/>
          </p:cNvSpPr>
          <p:nvPr>
            <p:ph type="body" sz="quarter" idx="31" hasCustomPrompt="1"/>
          </p:nvPr>
        </p:nvSpPr>
        <p:spPr>
          <a:xfrm flipH="1">
            <a:off x="5205319"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5" name="Text Placeholder 6">
            <a:extLst>
              <a:ext uri="{FF2B5EF4-FFF2-40B4-BE49-F238E27FC236}">
                <a16:creationId xmlns:a16="http://schemas.microsoft.com/office/drawing/2014/main" id="{814015C2-B8E4-B890-4CD0-F6A3A2052CAC}"/>
              </a:ext>
            </a:extLst>
          </p:cNvPr>
          <p:cNvSpPr>
            <a:spLocks noGrp="1"/>
          </p:cNvSpPr>
          <p:nvPr>
            <p:ph type="body" sz="quarter" idx="33" hasCustomPrompt="1"/>
          </p:nvPr>
        </p:nvSpPr>
        <p:spPr>
          <a:xfrm>
            <a:off x="7565217"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30" name="Text Placeholder 9">
            <a:extLst>
              <a:ext uri="{FF2B5EF4-FFF2-40B4-BE49-F238E27FC236}">
                <a16:creationId xmlns:a16="http://schemas.microsoft.com/office/drawing/2014/main" id="{37959C9A-F406-FB92-6FFF-08F42234CF91}"/>
              </a:ext>
            </a:extLst>
          </p:cNvPr>
          <p:cNvSpPr>
            <a:spLocks noGrp="1"/>
          </p:cNvSpPr>
          <p:nvPr>
            <p:ph type="body" sz="quarter" idx="34" hasCustomPrompt="1"/>
          </p:nvPr>
        </p:nvSpPr>
        <p:spPr>
          <a:xfrm>
            <a:off x="9836214" y="1411287"/>
            <a:ext cx="1873220" cy="2031325"/>
          </a:xfrm>
        </p:spPr>
        <p:txBody>
          <a:bodyPr wrap="square">
            <a:spAutoFit/>
          </a:bodyPr>
          <a:lstStyle>
            <a:lvl1pPr marL="0" indent="0">
              <a:buNone/>
              <a:defRPr sz="13200"/>
            </a:lvl1pPr>
          </a:lstStyle>
          <a:p>
            <a:pPr lvl="0"/>
            <a:r>
              <a:rPr lang="en-GB" dirty="0"/>
              <a:t>0</a:t>
            </a:r>
            <a:endParaRPr lang="en-US" dirty="0"/>
          </a:p>
        </p:txBody>
      </p:sp>
      <p:sp>
        <p:nvSpPr>
          <p:cNvPr id="34" name="Text Placeholder 6">
            <a:extLst>
              <a:ext uri="{FF2B5EF4-FFF2-40B4-BE49-F238E27FC236}">
                <a16:creationId xmlns:a16="http://schemas.microsoft.com/office/drawing/2014/main" id="{BC6A6256-32C1-F83C-4A32-D674785CF1DF}"/>
              </a:ext>
            </a:extLst>
          </p:cNvPr>
          <p:cNvSpPr>
            <a:spLocks noGrp="1"/>
          </p:cNvSpPr>
          <p:nvPr>
            <p:ph type="body" sz="quarter" idx="35" hasCustomPrompt="1"/>
          </p:nvPr>
        </p:nvSpPr>
        <p:spPr>
          <a:xfrm>
            <a:off x="9925114"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 name="Title 1">
            <a:extLst>
              <a:ext uri="{FF2B5EF4-FFF2-40B4-BE49-F238E27FC236}">
                <a16:creationId xmlns:a16="http://schemas.microsoft.com/office/drawing/2014/main" id="{E49EC5F5-14E0-4B05-29E6-E9A059AA1002}"/>
              </a:ext>
            </a:extLst>
          </p:cNvPr>
          <p:cNvSpPr>
            <a:spLocks noGrp="1"/>
          </p:cNvSpPr>
          <p:nvPr>
            <p:ph type="title" hasCustomPrompt="1"/>
          </p:nvPr>
        </p:nvSpPr>
        <p:spPr>
          <a:xfrm>
            <a:off x="485523" y="369888"/>
            <a:ext cx="11224347" cy="470898"/>
          </a:xfrm>
        </p:spPr>
        <p:txBody>
          <a:bodyPr/>
          <a:lstStyle/>
          <a:p>
            <a:r>
              <a:rPr lang="en-GB" dirty="0"/>
              <a:t>Agenda</a:t>
            </a:r>
            <a:endParaRPr lang="en-US" dirty="0"/>
          </a:p>
        </p:txBody>
      </p:sp>
      <p:sp>
        <p:nvSpPr>
          <p:cNvPr id="10" name="Text Placeholder 9">
            <a:extLst>
              <a:ext uri="{FF2B5EF4-FFF2-40B4-BE49-F238E27FC236}">
                <a16:creationId xmlns:a16="http://schemas.microsoft.com/office/drawing/2014/main" id="{920A2165-CDB3-28AA-F42A-E5E3D72C1440}"/>
              </a:ext>
            </a:extLst>
          </p:cNvPr>
          <p:cNvSpPr>
            <a:spLocks noGrp="1"/>
          </p:cNvSpPr>
          <p:nvPr>
            <p:ph type="body" sz="quarter" idx="13" hasCustomPrompt="1"/>
          </p:nvPr>
        </p:nvSpPr>
        <p:spPr>
          <a:xfrm>
            <a:off x="396623" y="1411287"/>
            <a:ext cx="1873220" cy="2031325"/>
          </a:xfrm>
        </p:spPr>
        <p:txBody>
          <a:bodyPr wrap="square">
            <a:spAutoFit/>
          </a:bodyPr>
          <a:lstStyle>
            <a:lvl1pPr marL="0" indent="0">
              <a:buNone/>
              <a:defRPr sz="13200"/>
            </a:lvl1pPr>
          </a:lstStyle>
          <a:p>
            <a:pPr lvl="0"/>
            <a:r>
              <a:rPr lang="en-GB" dirty="0"/>
              <a:t>0</a:t>
            </a:r>
            <a:endParaRPr lang="en-US" dirty="0"/>
          </a:p>
        </p:txBody>
      </p:sp>
      <p:sp>
        <p:nvSpPr>
          <p:cNvPr id="3" name="Text Placeholder 6">
            <a:extLst>
              <a:ext uri="{FF2B5EF4-FFF2-40B4-BE49-F238E27FC236}">
                <a16:creationId xmlns:a16="http://schemas.microsoft.com/office/drawing/2014/main" id="{F78D4931-12A7-7D80-F380-EDF6BE10CA42}"/>
              </a:ext>
            </a:extLst>
          </p:cNvPr>
          <p:cNvSpPr>
            <a:spLocks noGrp="1"/>
          </p:cNvSpPr>
          <p:nvPr>
            <p:ph type="body" sz="quarter" idx="27" hasCustomPrompt="1"/>
          </p:nvPr>
        </p:nvSpPr>
        <p:spPr>
          <a:xfrm>
            <a:off x="485523" y="3642518"/>
            <a:ext cx="1785600" cy="2407444"/>
          </a:xfrm>
        </p:spPr>
        <p:txBody>
          <a:bodyPr/>
          <a:lstStyle>
            <a:lvl1pPr>
              <a:defRPr>
                <a:latin typeface="+mn-lt"/>
              </a:defRPr>
            </a:lvl1pPr>
          </a:lstStyle>
          <a:p>
            <a:pPr lvl="0"/>
            <a:r>
              <a:rPr lang="en-GB" dirty="0"/>
              <a:t>Agenda text goes here and delete the bullet if not required</a:t>
            </a:r>
            <a:endParaRPr lang="en-US" dirty="0"/>
          </a:p>
        </p:txBody>
      </p:sp>
      <p:sp>
        <p:nvSpPr>
          <p:cNvPr id="23" name="Text Placeholder 9">
            <a:extLst>
              <a:ext uri="{FF2B5EF4-FFF2-40B4-BE49-F238E27FC236}">
                <a16:creationId xmlns:a16="http://schemas.microsoft.com/office/drawing/2014/main" id="{38D52684-7A0E-2BDF-C56C-F721FED04E3A}"/>
              </a:ext>
            </a:extLst>
          </p:cNvPr>
          <p:cNvSpPr>
            <a:spLocks noGrp="1"/>
          </p:cNvSpPr>
          <p:nvPr>
            <p:ph type="body" sz="quarter" idx="32" hasCustomPrompt="1"/>
          </p:nvPr>
        </p:nvSpPr>
        <p:spPr>
          <a:xfrm>
            <a:off x="7476317" y="1411287"/>
            <a:ext cx="1873220" cy="2031325"/>
          </a:xfrm>
        </p:spPr>
        <p:txBody>
          <a:bodyPr wrap="square">
            <a:spAutoFit/>
          </a:bodyPr>
          <a:lstStyle>
            <a:lvl1pPr marL="0" indent="0">
              <a:buNone/>
              <a:defRPr sz="13200"/>
            </a:lvl1pPr>
          </a:lstStyle>
          <a:p>
            <a:pPr lvl="0"/>
            <a:r>
              <a:rPr lang="en-GB" dirty="0"/>
              <a:t>0</a:t>
            </a:r>
            <a:endParaRPr lang="en-US" dirty="0"/>
          </a:p>
        </p:txBody>
      </p:sp>
      <p:sp>
        <p:nvSpPr>
          <p:cNvPr id="36" name="SmartArt Placeholder 35">
            <a:extLst>
              <a:ext uri="{FF2B5EF4-FFF2-40B4-BE49-F238E27FC236}">
                <a16:creationId xmlns:a16="http://schemas.microsoft.com/office/drawing/2014/main" id="{6D23DAA3-59C7-A352-8728-D157F22D25EF}"/>
              </a:ext>
            </a:extLst>
          </p:cNvPr>
          <p:cNvSpPr>
            <a:spLocks noGrp="1"/>
          </p:cNvSpPr>
          <p:nvPr>
            <p:ph type="dgm" sz="quarter" idx="36" hasCustomPrompt="1"/>
          </p:nvPr>
        </p:nvSpPr>
        <p:spPr>
          <a:xfrm>
            <a:off x="2556050" y="2020781"/>
            <a:ext cx="3600" cy="4030662"/>
          </a:xfrm>
          <a:solidFill>
            <a:schemeClr val="bg1"/>
          </a:solidFill>
        </p:spPr>
        <p:txBody>
          <a:bodyPr/>
          <a:lstStyle>
            <a:lvl1pPr marL="0" indent="0">
              <a:buNone/>
              <a:defRPr/>
            </a:lvl1pPr>
          </a:lstStyle>
          <a:p>
            <a:r>
              <a:rPr lang="en-US" dirty="0"/>
              <a:t> </a:t>
            </a:r>
          </a:p>
        </p:txBody>
      </p:sp>
      <p:sp>
        <p:nvSpPr>
          <p:cNvPr id="37" name="SmartArt Placeholder 35">
            <a:extLst>
              <a:ext uri="{FF2B5EF4-FFF2-40B4-BE49-F238E27FC236}">
                <a16:creationId xmlns:a16="http://schemas.microsoft.com/office/drawing/2014/main" id="{D33DFC67-321E-4CFE-436A-CF6FA96BA7E4}"/>
              </a:ext>
            </a:extLst>
          </p:cNvPr>
          <p:cNvSpPr>
            <a:spLocks noGrp="1"/>
          </p:cNvSpPr>
          <p:nvPr>
            <p:ph type="dgm" sz="quarter" idx="37" hasCustomPrompt="1"/>
          </p:nvPr>
        </p:nvSpPr>
        <p:spPr>
          <a:xfrm flipH="1">
            <a:off x="4915948" y="2020781"/>
            <a:ext cx="3600" cy="4030662"/>
          </a:xfrm>
          <a:solidFill>
            <a:schemeClr val="bg1"/>
          </a:solidFill>
        </p:spPr>
        <p:txBody>
          <a:bodyPr/>
          <a:lstStyle>
            <a:lvl1pPr marL="0" indent="0">
              <a:buNone/>
              <a:defRPr/>
            </a:lvl1pPr>
          </a:lstStyle>
          <a:p>
            <a:r>
              <a:rPr lang="en-US" dirty="0"/>
              <a:t> </a:t>
            </a:r>
          </a:p>
        </p:txBody>
      </p:sp>
      <p:sp>
        <p:nvSpPr>
          <p:cNvPr id="38" name="SmartArt Placeholder 35">
            <a:extLst>
              <a:ext uri="{FF2B5EF4-FFF2-40B4-BE49-F238E27FC236}">
                <a16:creationId xmlns:a16="http://schemas.microsoft.com/office/drawing/2014/main" id="{A43CB924-4778-AEB3-1D6C-5B802CD043B0}"/>
              </a:ext>
            </a:extLst>
          </p:cNvPr>
          <p:cNvSpPr>
            <a:spLocks noGrp="1"/>
          </p:cNvSpPr>
          <p:nvPr>
            <p:ph type="dgm" sz="quarter" idx="38" hasCustomPrompt="1"/>
          </p:nvPr>
        </p:nvSpPr>
        <p:spPr>
          <a:xfrm>
            <a:off x="7275846" y="2020781"/>
            <a:ext cx="3600" cy="4030662"/>
          </a:xfrm>
          <a:solidFill>
            <a:schemeClr val="bg1"/>
          </a:solidFill>
        </p:spPr>
        <p:txBody>
          <a:bodyPr/>
          <a:lstStyle>
            <a:lvl1pPr marL="0" indent="0">
              <a:buNone/>
              <a:defRPr/>
            </a:lvl1pPr>
          </a:lstStyle>
          <a:p>
            <a:r>
              <a:rPr lang="en-US" dirty="0"/>
              <a:t> </a:t>
            </a:r>
          </a:p>
        </p:txBody>
      </p:sp>
      <p:sp>
        <p:nvSpPr>
          <p:cNvPr id="39" name="SmartArt Placeholder 35">
            <a:extLst>
              <a:ext uri="{FF2B5EF4-FFF2-40B4-BE49-F238E27FC236}">
                <a16:creationId xmlns:a16="http://schemas.microsoft.com/office/drawing/2014/main" id="{225723D6-9330-76F1-3F3B-6A582AC1C154}"/>
              </a:ext>
            </a:extLst>
          </p:cNvPr>
          <p:cNvSpPr>
            <a:spLocks noGrp="1"/>
          </p:cNvSpPr>
          <p:nvPr>
            <p:ph type="dgm" sz="quarter" idx="39" hasCustomPrompt="1"/>
          </p:nvPr>
        </p:nvSpPr>
        <p:spPr>
          <a:xfrm>
            <a:off x="9635744" y="2020781"/>
            <a:ext cx="3600" cy="4030662"/>
          </a:xfrm>
          <a:solidFill>
            <a:schemeClr val="bg1"/>
          </a:solidFill>
        </p:spPr>
        <p:txBody>
          <a:bodyPr/>
          <a:lstStyle>
            <a:lvl1pPr marL="0" indent="0">
              <a:buNone/>
              <a:defRPr/>
            </a:lvl1pPr>
          </a:lstStyle>
          <a:p>
            <a:r>
              <a:rPr lang="en-US" dirty="0"/>
              <a:t> </a:t>
            </a:r>
          </a:p>
        </p:txBody>
      </p:sp>
      <p:grpSp>
        <p:nvGrpSpPr>
          <p:cNvPr id="4" name="Group 4">
            <a:extLst>
              <a:ext uri="{FF2B5EF4-FFF2-40B4-BE49-F238E27FC236}">
                <a16:creationId xmlns:a16="http://schemas.microsoft.com/office/drawing/2014/main" id="{50C160A0-AEF4-BAD8-6504-E35190D5CB12}"/>
              </a:ext>
            </a:extLst>
          </p:cNvPr>
          <p:cNvGrpSpPr>
            <a:grpSpLocks noChangeAspect="1"/>
          </p:cNvGrpSpPr>
          <p:nvPr userDrawn="1"/>
        </p:nvGrpSpPr>
        <p:grpSpPr bwMode="black">
          <a:xfrm>
            <a:off x="11369256" y="6276977"/>
            <a:ext cx="346158" cy="355219"/>
            <a:chOff x="7110" y="4004"/>
            <a:chExt cx="191" cy="196"/>
          </a:xfrm>
        </p:grpSpPr>
        <p:sp>
          <p:nvSpPr>
            <p:cNvPr id="5" name="Freeform 5">
              <a:extLst>
                <a:ext uri="{FF2B5EF4-FFF2-40B4-BE49-F238E27FC236}">
                  <a16:creationId xmlns:a16="http://schemas.microsoft.com/office/drawing/2014/main" id="{5DA69780-18D0-1E72-3710-13A43F7DFB89}"/>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6" name="Freeform 6">
              <a:extLst>
                <a:ext uri="{FF2B5EF4-FFF2-40B4-BE49-F238E27FC236}">
                  <a16:creationId xmlns:a16="http://schemas.microsoft.com/office/drawing/2014/main" id="{54484328-C792-A860-CDFD-BA313DD33A0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7" name="Freeform 7">
              <a:extLst>
                <a:ext uri="{FF2B5EF4-FFF2-40B4-BE49-F238E27FC236}">
                  <a16:creationId xmlns:a16="http://schemas.microsoft.com/office/drawing/2014/main" id="{D5EBE5EB-0645-4239-3BCA-1448D66CEA58}"/>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Tree>
    <p:extLst>
      <p:ext uri="{BB962C8B-B14F-4D97-AF65-F5344CB8AC3E}">
        <p14:creationId xmlns:p14="http://schemas.microsoft.com/office/powerpoint/2010/main" val="96003384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pic>
        <p:nvPicPr>
          <p:cNvPr id="6" name="Picture 5" descr="A colorful circle on a black background&#10;&#10;Description automatically generated">
            <a:extLst>
              <a:ext uri="{FF2B5EF4-FFF2-40B4-BE49-F238E27FC236}">
                <a16:creationId xmlns:a16="http://schemas.microsoft.com/office/drawing/2014/main" id="{C39DD3F9-9341-288C-0536-DED981D0E40F}"/>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2" name="Group 4">
            <a:extLst>
              <a:ext uri="{FF2B5EF4-FFF2-40B4-BE49-F238E27FC236}">
                <a16:creationId xmlns:a16="http://schemas.microsoft.com/office/drawing/2014/main" id="{0F186386-DEF4-429C-B2EF-EDFB90967DAD}"/>
              </a:ext>
            </a:extLst>
          </p:cNvPr>
          <p:cNvGrpSpPr>
            <a:grpSpLocks noChangeAspect="1"/>
          </p:cNvGrpSpPr>
          <p:nvPr userDrawn="1"/>
        </p:nvGrpSpPr>
        <p:grpSpPr bwMode="black">
          <a:xfrm>
            <a:off x="11369256" y="6276977"/>
            <a:ext cx="346158" cy="355219"/>
            <a:chOff x="7110" y="4004"/>
            <a:chExt cx="191" cy="196"/>
          </a:xfrm>
        </p:grpSpPr>
        <p:sp>
          <p:nvSpPr>
            <p:cNvPr id="3" name="Freeform 5">
              <a:extLst>
                <a:ext uri="{FF2B5EF4-FFF2-40B4-BE49-F238E27FC236}">
                  <a16:creationId xmlns:a16="http://schemas.microsoft.com/office/drawing/2014/main" id="{9F2E5EAA-5A57-323C-4CE9-B38C55655F5D}"/>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4" name="Freeform 6">
              <a:extLst>
                <a:ext uri="{FF2B5EF4-FFF2-40B4-BE49-F238E27FC236}">
                  <a16:creationId xmlns:a16="http://schemas.microsoft.com/office/drawing/2014/main" id="{FA3FEC59-A6D2-AAEA-7A78-7E2C9DF3F9AC}"/>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5" name="Freeform 7">
              <a:extLst>
                <a:ext uri="{FF2B5EF4-FFF2-40B4-BE49-F238E27FC236}">
                  <a16:creationId xmlns:a16="http://schemas.microsoft.com/office/drawing/2014/main" id="{11C0BD38-74F5-FA1F-D893-B4908B574AD8}"/>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Tree>
    <p:extLst>
      <p:ext uri="{BB962C8B-B14F-4D97-AF65-F5344CB8AC3E}">
        <p14:creationId xmlns:p14="http://schemas.microsoft.com/office/powerpoint/2010/main" val="342158791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ey Statement 2">
    <p:spTree>
      <p:nvGrpSpPr>
        <p:cNvPr id="1" name=""/>
        <p:cNvGrpSpPr/>
        <p:nvPr/>
      </p:nvGrpSpPr>
      <p:grpSpPr>
        <a:xfrm>
          <a:off x="0" y="0"/>
          <a:ext cx="0" cy="0"/>
          <a:chOff x="0" y="0"/>
          <a:chExt cx="0" cy="0"/>
        </a:xfrm>
      </p:grpSpPr>
      <p:pic>
        <p:nvPicPr>
          <p:cNvPr id="8" name="Picture 7" descr="A blurry image of a colorful light&#10;&#10;Description automatically generated">
            <a:extLst>
              <a:ext uri="{FF2B5EF4-FFF2-40B4-BE49-F238E27FC236}">
                <a16:creationId xmlns:a16="http://schemas.microsoft.com/office/drawing/2014/main" id="{BFF9BC5C-A44C-B902-3ACE-C29AC4CE3E4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1411287"/>
            <a:ext cx="11218863" cy="4638675"/>
          </a:xfrm>
        </p:spPr>
        <p:txBody>
          <a:bodyPr/>
          <a:lstStyle>
            <a:lvl1pPr marL="0" indent="0">
              <a:lnSpc>
                <a:spcPct val="85000"/>
              </a:lnSpc>
              <a:buNone/>
              <a:defRPr sz="8000" b="1">
                <a:solidFill>
                  <a:schemeClr val="bg1"/>
                </a:solidFill>
                <a:latin typeface="EYInterstate" panose="02000503020000020004"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grpSp>
        <p:nvGrpSpPr>
          <p:cNvPr id="2" name="Group 4">
            <a:extLst>
              <a:ext uri="{FF2B5EF4-FFF2-40B4-BE49-F238E27FC236}">
                <a16:creationId xmlns:a16="http://schemas.microsoft.com/office/drawing/2014/main" id="{1324BCF6-C0B1-532B-B6E2-3580B77ACBE1}"/>
              </a:ext>
            </a:extLst>
          </p:cNvPr>
          <p:cNvGrpSpPr>
            <a:grpSpLocks noChangeAspect="1"/>
          </p:cNvGrpSpPr>
          <p:nvPr userDrawn="1"/>
        </p:nvGrpSpPr>
        <p:grpSpPr bwMode="black">
          <a:xfrm>
            <a:off x="11369256" y="6276977"/>
            <a:ext cx="346158" cy="355219"/>
            <a:chOff x="7110" y="4004"/>
            <a:chExt cx="191" cy="196"/>
          </a:xfrm>
        </p:grpSpPr>
        <p:sp>
          <p:nvSpPr>
            <p:cNvPr id="3" name="Freeform 5">
              <a:extLst>
                <a:ext uri="{FF2B5EF4-FFF2-40B4-BE49-F238E27FC236}">
                  <a16:creationId xmlns:a16="http://schemas.microsoft.com/office/drawing/2014/main" id="{EF5B4281-B0DF-AD52-98E4-B128D4D4FB38}"/>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4" name="Freeform 6">
              <a:extLst>
                <a:ext uri="{FF2B5EF4-FFF2-40B4-BE49-F238E27FC236}">
                  <a16:creationId xmlns:a16="http://schemas.microsoft.com/office/drawing/2014/main" id="{AA52232D-F904-DE89-5355-E89CEC0F0FD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5" name="Freeform 7">
              <a:extLst>
                <a:ext uri="{FF2B5EF4-FFF2-40B4-BE49-F238E27FC236}">
                  <a16:creationId xmlns:a16="http://schemas.microsoft.com/office/drawing/2014/main" id="{9407D765-2B05-05B5-F0A6-3DD817D58564}"/>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Tree>
    <p:extLst>
      <p:ext uri="{BB962C8B-B14F-4D97-AF65-F5344CB8AC3E}">
        <p14:creationId xmlns:p14="http://schemas.microsoft.com/office/powerpoint/2010/main" val="130283651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dirty="0"/>
              <a:t>Click to edit Master title style</a:t>
            </a:r>
            <a:endParaRPr lang="en-US" dirty="0"/>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defRPr sz="16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3" name="Straight Connector 2">
            <a:extLst>
              <a:ext uri="{FF2B5EF4-FFF2-40B4-BE49-F238E27FC236}">
                <a16:creationId xmlns:a16="http://schemas.microsoft.com/office/drawing/2014/main" id="{02449C0B-6817-4C56-22B0-0E44251E3737}"/>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77227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lvl1pPr>
              <a:defRPr sz="2400"/>
            </a:lvl1pPr>
          </a:lstStyle>
          <a:p>
            <a:r>
              <a:rPr lang="en-GB" dirty="0"/>
              <a:t>Click to edit Master title style</a:t>
            </a:r>
            <a:endParaRPr lang="en-US" dirty="0"/>
          </a:p>
        </p:txBody>
      </p:sp>
      <p:cxnSp>
        <p:nvCxnSpPr>
          <p:cNvPr id="6" name="Straight Connector 5">
            <a:extLst>
              <a:ext uri="{FF2B5EF4-FFF2-40B4-BE49-F238E27FC236}">
                <a16:creationId xmlns:a16="http://schemas.microsoft.com/office/drawing/2014/main" id="{B3150B4E-A986-FE36-50BB-FC515CBAA719}"/>
              </a:ext>
            </a:extLst>
          </p:cNvPr>
          <p:cNvCxnSpPr>
            <a:cxnSpLocks/>
          </p:cNvCxnSpPr>
          <p:nvPr userDrawn="1"/>
        </p:nvCxnSpPr>
        <p:spPr>
          <a:xfrm>
            <a:off x="483826" y="1096781"/>
            <a:ext cx="914400" cy="0"/>
          </a:xfrm>
          <a:prstGeom prst="line">
            <a:avLst/>
          </a:prstGeom>
          <a:ln w="38100" cap="flat" cmpd="sng" algn="ctr">
            <a:solidFill>
              <a:schemeClr val="tx2">
                <a:lumMod val="100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00741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41769"/>
            <a:ext cx="11224347" cy="494844"/>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defRPr sz="1600"/>
            </a:lvl1pPr>
            <a:lvl2pPr>
              <a:defRPr sz="1600"/>
            </a:lvl2pPr>
            <a:lvl3pPr>
              <a:defRPr sz="1400"/>
            </a:lvl3pPr>
            <a:lvl4pPr>
              <a:defRPr sz="1200"/>
            </a:lvl4pPr>
            <a:lvl5pPr>
              <a:defRPr sz="120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marL="252000" indent="-252000">
              <a:defRPr lang="en-GB" sz="1600" kern="1200" dirty="0">
                <a:solidFill>
                  <a:schemeClr val="bg1"/>
                </a:solidFill>
                <a:latin typeface="+mn-lt"/>
                <a:ea typeface="+mn-ea"/>
                <a:cs typeface="+mn-cs"/>
              </a:defRPr>
            </a:lvl1pPr>
            <a:lvl2pPr marL="504000" indent="-252000">
              <a:defRPr lang="en-GB" sz="1600" kern="1200" dirty="0">
                <a:solidFill>
                  <a:schemeClr val="bg1"/>
                </a:solidFill>
                <a:latin typeface="+mn-lt"/>
                <a:ea typeface="+mn-ea"/>
                <a:cs typeface="+mn-cs"/>
              </a:defRPr>
            </a:lvl2pPr>
            <a:lvl3pPr marL="756000" indent="-252000">
              <a:defRPr lang="en-GB" sz="1400" kern="1200" dirty="0">
                <a:solidFill>
                  <a:schemeClr val="bg1"/>
                </a:solidFill>
                <a:latin typeface="+mn-lt"/>
                <a:ea typeface="+mn-ea"/>
                <a:cs typeface="+mn-cs"/>
              </a:defRPr>
            </a:lvl3pPr>
            <a:lvl4pPr marL="1008000" indent="-252000">
              <a:defRPr lang="en-GB" sz="1200" kern="1200" dirty="0">
                <a:solidFill>
                  <a:schemeClr val="bg1"/>
                </a:solidFill>
                <a:latin typeface="+mn-lt"/>
                <a:ea typeface="+mn-ea"/>
                <a:cs typeface="+mn-cs"/>
              </a:defRPr>
            </a:lvl4pPr>
            <a:lvl5pPr marL="1260000" indent="-252000">
              <a:defRPr lang="en-US" sz="1200" kern="1200" dirty="0">
                <a:solidFill>
                  <a:schemeClr val="bg1"/>
                </a:solidFill>
                <a:latin typeface="+mn-lt"/>
                <a:ea typeface="+mn-ea"/>
                <a:cs typeface="+mn-cs"/>
              </a:defRPr>
            </a:lvl5pPr>
          </a:lstStyle>
          <a:p>
            <a:pPr marL="252000" lvl="0" indent="-252000" algn="l" defTabSz="914400" rtl="0" eaLnBrk="1" latinLnBrk="0" hangingPunct="1">
              <a:spcBef>
                <a:spcPts val="400"/>
              </a:spcBef>
              <a:spcAft>
                <a:spcPts val="400"/>
              </a:spcAft>
              <a:buClr>
                <a:schemeClr val="tx2"/>
              </a:buClr>
              <a:buSzPct val="100000"/>
              <a:buFont typeface="Wingdings" pitchFamily="2" charset="2"/>
              <a:buChar char="§"/>
            </a:pPr>
            <a:r>
              <a:rPr lang="en-GB" dirty="0"/>
              <a:t>Click to edit Master text styles</a:t>
            </a:r>
          </a:p>
          <a:p>
            <a:pPr marL="504000" lvl="1" indent="-252000" algn="l" defTabSz="914400" rtl="0" eaLnBrk="1" latinLnBrk="0" hangingPunct="1">
              <a:spcBef>
                <a:spcPts val="400"/>
              </a:spcBef>
              <a:spcAft>
                <a:spcPts val="400"/>
              </a:spcAft>
              <a:buClr>
                <a:schemeClr val="tx2"/>
              </a:buClr>
              <a:buSzPct val="100000"/>
              <a:buFont typeface="Wingdings" pitchFamily="2" charset="2"/>
              <a:buChar char="§"/>
            </a:pPr>
            <a:r>
              <a:rPr lang="en-GB" dirty="0"/>
              <a:t>Second level</a:t>
            </a:r>
          </a:p>
          <a:p>
            <a:pPr marL="756000" lvl="2" indent="-252000" algn="l" defTabSz="914400" rtl="0" eaLnBrk="1" latinLnBrk="0" hangingPunct="1">
              <a:spcBef>
                <a:spcPts val="0"/>
              </a:spcBef>
              <a:spcAft>
                <a:spcPts val="600"/>
              </a:spcAft>
              <a:buClr>
                <a:schemeClr val="tx2"/>
              </a:buClr>
              <a:buSzPct val="100000"/>
              <a:buFont typeface="Wingdings" pitchFamily="2" charset="2"/>
              <a:buChar char="§"/>
            </a:pPr>
            <a:r>
              <a:rPr lang="en-GB" dirty="0"/>
              <a:t>Third level</a:t>
            </a:r>
          </a:p>
          <a:p>
            <a:pPr marL="1008000" lvl="3" indent="-252000" algn="l" defTabSz="914400" rtl="0" eaLnBrk="1" latinLnBrk="0" hangingPunct="1">
              <a:spcBef>
                <a:spcPts val="0"/>
              </a:spcBef>
              <a:spcAft>
                <a:spcPts val="400"/>
              </a:spcAft>
              <a:buClr>
                <a:schemeClr val="tx2"/>
              </a:buClr>
              <a:buSzPct val="100000"/>
              <a:buFont typeface="Wingdings" pitchFamily="2" charset="2"/>
              <a:buChar char="§"/>
            </a:pPr>
            <a:r>
              <a:rPr lang="en-GB" dirty="0"/>
              <a:t>Fourth level</a:t>
            </a:r>
          </a:p>
          <a:p>
            <a:pPr marL="1260000" lvl="4" indent="-252000" algn="l" defTabSz="914400" rtl="0" eaLnBrk="1" latinLnBrk="0" hangingPunct="1">
              <a:spcBef>
                <a:spcPts val="0"/>
              </a:spcBef>
              <a:spcAft>
                <a:spcPts val="400"/>
              </a:spcAft>
              <a:buClr>
                <a:schemeClr val="tx2"/>
              </a:buClr>
              <a:buSzPct val="100000"/>
              <a:buFont typeface="Wingdings" pitchFamily="2" charset="2"/>
              <a:buChar char="§"/>
            </a:pPr>
            <a:r>
              <a:rPr lang="en-GB" dirty="0"/>
              <a:t>Fifth level</a:t>
            </a:r>
            <a:endParaRPr lang="en-US" dirty="0"/>
          </a:p>
        </p:txBody>
      </p:sp>
      <p:cxnSp>
        <p:nvCxnSpPr>
          <p:cNvPr id="3" name="Straight Connector 2">
            <a:extLst>
              <a:ext uri="{FF2B5EF4-FFF2-40B4-BE49-F238E27FC236}">
                <a16:creationId xmlns:a16="http://schemas.microsoft.com/office/drawing/2014/main" id="{84306718-9725-46A6-39C4-3D879B2CB97C}"/>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42567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defRPr lang="en-GB" sz="1600" dirty="0"/>
            </a:lvl1pPr>
            <a:lvl2pPr>
              <a:defRPr lang="en-GB" dirty="0"/>
            </a:lvl2pPr>
            <a:lvl3pPr>
              <a:defRPr lang="en-GB" dirty="0"/>
            </a:lvl3pPr>
            <a:lvl4pPr>
              <a:defRPr lang="en-GB" sz="1200"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defRPr lang="en-GB" dirty="0"/>
            </a:lvl1pPr>
            <a:lvl2pPr>
              <a:defRPr lang="en-GB" dirty="0"/>
            </a:lvl2pPr>
            <a:lvl3pPr>
              <a:defRPr lang="en-GB" dirty="0"/>
            </a:lvl3pPr>
            <a:lvl4pPr>
              <a:defRPr lang="en-GB" sz="1200"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defRPr lang="en-GB" dirty="0"/>
            </a:lvl1pPr>
            <a:lvl2pPr>
              <a:defRPr lang="en-GB" dirty="0"/>
            </a:lvl2pPr>
            <a:lvl3pPr>
              <a:defRPr lang="en-GB" dirty="0"/>
            </a:lvl3pPr>
            <a:lvl4pPr>
              <a:defRPr lang="en-GB" sz="1200"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cxnSp>
        <p:nvCxnSpPr>
          <p:cNvPr id="2" name="Straight Connector 1">
            <a:extLst>
              <a:ext uri="{FF2B5EF4-FFF2-40B4-BE49-F238E27FC236}">
                <a16:creationId xmlns:a16="http://schemas.microsoft.com/office/drawing/2014/main" id="{18DFB1CC-C3A1-32B5-E360-CC8DEAAD1E6A}"/>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891016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41768"/>
            <a:ext cx="11224347" cy="49484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2" name="Straight Connector 1">
            <a:extLst>
              <a:ext uri="{FF2B5EF4-FFF2-40B4-BE49-F238E27FC236}">
                <a16:creationId xmlns:a16="http://schemas.microsoft.com/office/drawing/2014/main" id="{A44FEE5C-5E65-E04A-88F0-B916BFFCE517}"/>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97452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41768"/>
            <a:ext cx="11224347" cy="494845"/>
          </a:xfrm>
        </p:spPr>
        <p:txBody>
          <a:bodyPr/>
          <a:lstStyle/>
          <a:p>
            <a:r>
              <a:rPr lang="en-GB" dirty="0"/>
              <a:t>Click to edit Master title style</a:t>
            </a:r>
            <a:endParaRPr lang="en-US" dirty="0"/>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cxnSp>
        <p:nvCxnSpPr>
          <p:cNvPr id="8" name="Straight Connector 7">
            <a:extLst>
              <a:ext uri="{FF2B5EF4-FFF2-40B4-BE49-F238E27FC236}">
                <a16:creationId xmlns:a16="http://schemas.microsoft.com/office/drawing/2014/main" id="{3B239758-B137-03FE-108F-895253F88AE9}"/>
              </a:ext>
            </a:extLst>
          </p:cNvPr>
          <p:cNvCxnSpPr>
            <a:cxnSpLocks/>
          </p:cNvCxnSpPr>
          <p:nvPr userDrawn="1"/>
        </p:nvCxnSpPr>
        <p:spPr>
          <a:xfrm>
            <a:off x="483827" y="1041026"/>
            <a:ext cx="11224800" cy="0"/>
          </a:xfrm>
          <a:prstGeom prst="line">
            <a:avLst/>
          </a:prstGeom>
          <a:ln w="76200">
            <a:solidFill>
              <a:schemeClr val="tx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07767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dirty="0"/>
              <a:t>Only one highlight line should appear. Delete the other two lin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dirty="0"/>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dirty="0"/>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dirty="0"/>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41768"/>
            <a:ext cx="11224347" cy="494845"/>
          </a:xfrm>
        </p:spPr>
        <p:txBody>
          <a:bodyPr/>
          <a:lstStyle/>
          <a:p>
            <a:r>
              <a:rPr lang="en-GB"/>
              <a:t>Click to edit Master title style</a:t>
            </a:r>
            <a:endParaRPr lang="en-US"/>
          </a:p>
        </p:txBody>
      </p:sp>
    </p:spTree>
    <p:extLst>
      <p:ext uri="{BB962C8B-B14F-4D97-AF65-F5344CB8AC3E}">
        <p14:creationId xmlns:p14="http://schemas.microsoft.com/office/powerpoint/2010/main" val="210798838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Spectrum 3">
    <p:spTree>
      <p:nvGrpSpPr>
        <p:cNvPr id="1" name=""/>
        <p:cNvGrpSpPr/>
        <p:nvPr/>
      </p:nvGrpSpPr>
      <p:grpSpPr>
        <a:xfrm>
          <a:off x="0" y="0"/>
          <a:ext cx="0" cy="0"/>
          <a:chOff x="0" y="0"/>
          <a:chExt cx="0" cy="0"/>
        </a:xfrm>
      </p:grpSpPr>
      <p:pic>
        <p:nvPicPr>
          <p:cNvPr id="3" name="Picture 2" descr="A colorful light in the dark&#10;&#10;Description automatically generated">
            <a:extLst>
              <a:ext uri="{FF2B5EF4-FFF2-40B4-BE49-F238E27FC236}">
                <a16:creationId xmlns:a16="http://schemas.microsoft.com/office/drawing/2014/main" id="{76F31E31-25A6-21A9-5DF2-0E1AA48A3DFC}"/>
              </a:ext>
            </a:extLst>
          </p:cNvPr>
          <p:cNvPicPr>
            <a:picLocks/>
          </p:cNvPicPr>
          <p:nvPr userDrawn="1"/>
        </p:nvPicPr>
        <p:blipFill>
          <a:blip r:embed="rId2">
            <a:extLst>
              <a:ext uri="{28A0092B-C50C-407E-A947-70E740481C1C}">
                <a14:useLocalDpi xmlns:a14="http://schemas.microsoft.com/office/drawing/2010/main" val="0"/>
              </a:ext>
            </a:extLst>
          </a:blip>
          <a:stretch>
            <a:fillRect/>
          </a:stretch>
        </p:blipFill>
        <p:spPr bwMode="hidden">
          <a:xfrm>
            <a:off x="0" y="0"/>
            <a:ext cx="12193200" cy="6858000"/>
          </a:xfrm>
          <a:prstGeom prst="rect">
            <a:avLst/>
          </a:prstGeom>
        </p:spPr>
      </p:pic>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a:p>
          </p:txBody>
        </p:sp>
      </p:grpSp>
      <p:grpSp>
        <p:nvGrpSpPr>
          <p:cNvPr id="4" name="Group 3">
            <a:extLst>
              <a:ext uri="{FF2B5EF4-FFF2-40B4-BE49-F238E27FC236}">
                <a16:creationId xmlns:a16="http://schemas.microsoft.com/office/drawing/2014/main" id="{195E5ED2-D1BB-AC6E-BF6A-D4BD239F1FE9}"/>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51D43938-5757-1C8A-B3BA-59EC353FB6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90AAC841-3D56-6842-04D1-F0B7D973D86D}"/>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22051003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2" y="1411289"/>
            <a:ext cx="5610479" cy="4638673"/>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6349868" y="0"/>
            <a:ext cx="5842132" cy="6858000"/>
          </a:xfrm>
        </p:spPr>
        <p:txBody>
          <a:bodyPr/>
          <a:lstStyle/>
          <a:p>
            <a:endParaRPr lang="en-US"/>
          </a:p>
        </p:txBody>
      </p:sp>
      <p:sp>
        <p:nvSpPr>
          <p:cNvPr id="2" name="Title 1">
            <a:extLst>
              <a:ext uri="{FF2B5EF4-FFF2-40B4-BE49-F238E27FC236}">
                <a16:creationId xmlns:a16="http://schemas.microsoft.com/office/drawing/2014/main" id="{9B88C567-2561-2AD2-63FE-0886450DCC49}"/>
              </a:ext>
            </a:extLst>
          </p:cNvPr>
          <p:cNvSpPr>
            <a:spLocks noGrp="1"/>
          </p:cNvSpPr>
          <p:nvPr>
            <p:ph type="title"/>
          </p:nvPr>
        </p:nvSpPr>
        <p:spPr>
          <a:xfrm>
            <a:off x="485523" y="341768"/>
            <a:ext cx="5610477" cy="494845"/>
          </a:xfrm>
        </p:spPr>
        <p:txBody>
          <a:bodyPr/>
          <a:lstStyle/>
          <a:p>
            <a:r>
              <a:rPr lang="en-GB" dirty="0"/>
              <a:t>Click to edit Master title style</a:t>
            </a:r>
            <a:endParaRPr lang="en-US" dirty="0"/>
          </a:p>
        </p:txBody>
      </p:sp>
    </p:spTree>
    <p:extLst>
      <p:ext uri="{BB962C8B-B14F-4D97-AF65-F5344CB8AC3E}">
        <p14:creationId xmlns:p14="http://schemas.microsoft.com/office/powerpoint/2010/main" val="3440438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8389938" y="0"/>
            <a:ext cx="3802061" cy="6858000"/>
          </a:xfrm>
        </p:spPr>
        <p:txBody>
          <a:bodyPr/>
          <a:lstStyle/>
          <a:p>
            <a:endParaRPr lang="en-US"/>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4309277" y="1411287"/>
            <a:ext cx="35712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79361665-A619-0AEE-E8F0-5711C7980200}"/>
              </a:ext>
            </a:extLst>
          </p:cNvPr>
          <p:cNvSpPr>
            <a:spLocks noGrp="1"/>
          </p:cNvSpPr>
          <p:nvPr>
            <p:ph type="title"/>
          </p:nvPr>
        </p:nvSpPr>
        <p:spPr>
          <a:xfrm>
            <a:off x="485523" y="341768"/>
            <a:ext cx="7394953" cy="494845"/>
          </a:xfrm>
        </p:spPr>
        <p:txBody>
          <a:bodyPr/>
          <a:lstStyle/>
          <a:p>
            <a:r>
              <a:rPr lang="en-GB" dirty="0"/>
              <a:t>Click to edit Master title style</a:t>
            </a:r>
            <a:endParaRPr lang="en-US" dirty="0"/>
          </a:p>
        </p:txBody>
      </p:sp>
    </p:spTree>
    <p:extLst>
      <p:ext uri="{BB962C8B-B14F-4D97-AF65-F5344CB8AC3E}">
        <p14:creationId xmlns:p14="http://schemas.microsoft.com/office/powerpoint/2010/main" val="10635493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ntent and Image">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34560AA6-636D-C99A-75CC-1AC2E4A0E42F}"/>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0" name="Picture Placeholder 9">
            <a:extLst>
              <a:ext uri="{FF2B5EF4-FFF2-40B4-BE49-F238E27FC236}">
                <a16:creationId xmlns:a16="http://schemas.microsoft.com/office/drawing/2014/main" id="{CD83AEB6-812D-A880-EAD7-47C376F054B5}"/>
              </a:ext>
            </a:extLst>
          </p:cNvPr>
          <p:cNvSpPr>
            <a:spLocks noGrp="1"/>
          </p:cNvSpPr>
          <p:nvPr>
            <p:ph type="pic" sz="quarter" idx="13"/>
          </p:nvPr>
        </p:nvSpPr>
        <p:spPr>
          <a:xfrm>
            <a:off x="9155113" y="0"/>
            <a:ext cx="3036886" cy="6858000"/>
          </a:xfrm>
        </p:spPr>
        <p:txBody>
          <a:bodyPr/>
          <a:lstStyle/>
          <a:p>
            <a:endParaRPr lang="en-US"/>
          </a:p>
        </p:txBody>
      </p:sp>
      <p:sp>
        <p:nvSpPr>
          <p:cNvPr id="6" name="Content Placeholder 2">
            <a:extLst>
              <a:ext uri="{FF2B5EF4-FFF2-40B4-BE49-F238E27FC236}">
                <a16:creationId xmlns:a16="http://schemas.microsoft.com/office/drawing/2014/main" id="{E4D119AB-28F4-6336-28B6-59438D27F156}"/>
              </a:ext>
            </a:extLst>
          </p:cNvPr>
          <p:cNvSpPr>
            <a:spLocks noGrp="1"/>
          </p:cNvSpPr>
          <p:nvPr>
            <p:ph idx="30"/>
          </p:nvPr>
        </p:nvSpPr>
        <p:spPr>
          <a:xfrm>
            <a:off x="3302078"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2" name="Content Placeholder 2">
            <a:extLst>
              <a:ext uri="{FF2B5EF4-FFF2-40B4-BE49-F238E27FC236}">
                <a16:creationId xmlns:a16="http://schemas.microsoft.com/office/drawing/2014/main" id="{E8468690-9C07-32F0-8029-E127A361B770}"/>
              </a:ext>
            </a:extLst>
          </p:cNvPr>
          <p:cNvSpPr>
            <a:spLocks noGrp="1"/>
          </p:cNvSpPr>
          <p:nvPr>
            <p:ph idx="31"/>
          </p:nvPr>
        </p:nvSpPr>
        <p:spPr>
          <a:xfrm>
            <a:off x="6118634"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Title 7">
            <a:extLst>
              <a:ext uri="{FF2B5EF4-FFF2-40B4-BE49-F238E27FC236}">
                <a16:creationId xmlns:a16="http://schemas.microsoft.com/office/drawing/2014/main" id="{34452E42-0F44-3CC2-78EC-9EE78A1B18DF}"/>
              </a:ext>
            </a:extLst>
          </p:cNvPr>
          <p:cNvSpPr>
            <a:spLocks noGrp="1"/>
          </p:cNvSpPr>
          <p:nvPr>
            <p:ph type="title"/>
          </p:nvPr>
        </p:nvSpPr>
        <p:spPr>
          <a:xfrm>
            <a:off x="485524" y="341768"/>
            <a:ext cx="8181910" cy="494845"/>
          </a:xfrm>
        </p:spPr>
        <p:txBody>
          <a:bodyPr/>
          <a:lstStyle/>
          <a:p>
            <a:r>
              <a:rPr lang="en-GB"/>
              <a:t>Click to edit Master title style</a:t>
            </a:r>
            <a:endParaRPr lang="en-US"/>
          </a:p>
        </p:txBody>
      </p:sp>
    </p:spTree>
    <p:extLst>
      <p:ext uri="{BB962C8B-B14F-4D97-AF65-F5344CB8AC3E}">
        <p14:creationId xmlns:p14="http://schemas.microsoft.com/office/powerpoint/2010/main" val="19278681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Video and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41768"/>
            <a:ext cx="11224347" cy="494845"/>
          </a:xfrm>
        </p:spPr>
        <p:txBody>
          <a:bodyPr/>
          <a:lstStyle/>
          <a:p>
            <a:r>
              <a:rPr lang="en-GB"/>
              <a:t>Click to edit Master title style</a:t>
            </a:r>
            <a:endParaRPr lang="en-US"/>
          </a:p>
        </p:txBody>
      </p:sp>
      <p:sp>
        <p:nvSpPr>
          <p:cNvPr id="12" name="Media Placeholder 11">
            <a:extLst>
              <a:ext uri="{FF2B5EF4-FFF2-40B4-BE49-F238E27FC236}">
                <a16:creationId xmlns:a16="http://schemas.microsoft.com/office/drawing/2014/main" id="{7AA8680C-DF0E-A59A-1D40-85E5B348B8F4}"/>
              </a:ext>
            </a:extLst>
          </p:cNvPr>
          <p:cNvSpPr>
            <a:spLocks noGrp="1"/>
          </p:cNvSpPr>
          <p:nvPr>
            <p:ph type="media" sz="quarter" idx="13"/>
          </p:nvPr>
        </p:nvSpPr>
        <p:spPr>
          <a:xfrm>
            <a:off x="485524" y="1411287"/>
            <a:ext cx="8160263" cy="4638675"/>
          </a:xfrm>
        </p:spPr>
        <p:txBody>
          <a:bodyPr/>
          <a:lstStyle/>
          <a:p>
            <a:r>
              <a:rPr lang="en-GB" dirty="0"/>
              <a:t>Click icon to add media</a:t>
            </a:r>
            <a:endParaRPr lang="en-US" dirty="0"/>
          </a:p>
        </p:txBody>
      </p:sp>
      <p:sp>
        <p:nvSpPr>
          <p:cNvPr id="14" name="Text Placeholder 13">
            <a:extLst>
              <a:ext uri="{FF2B5EF4-FFF2-40B4-BE49-F238E27FC236}">
                <a16:creationId xmlns:a16="http://schemas.microsoft.com/office/drawing/2014/main" id="{7E85579B-86BF-EE24-023A-9F648CFE072C}"/>
              </a:ext>
            </a:extLst>
          </p:cNvPr>
          <p:cNvSpPr>
            <a:spLocks noGrp="1"/>
          </p:cNvSpPr>
          <p:nvPr>
            <p:ph type="body" sz="quarter" idx="14"/>
          </p:nvPr>
        </p:nvSpPr>
        <p:spPr>
          <a:xfrm>
            <a:off x="8904632" y="1411287"/>
            <a:ext cx="2805238"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27443915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45396"/>
            <a:ext cx="11224347" cy="470898"/>
          </a:xfrm>
        </p:spPr>
        <p:txBody>
          <a:bodyPr/>
          <a:lstStyle/>
          <a:p>
            <a:r>
              <a:rPr lang="en-GB"/>
              <a:t>Click to edit Master title style</a:t>
            </a:r>
            <a:endParaRPr lang="en-US"/>
          </a:p>
        </p:txBody>
      </p:sp>
      <p:sp>
        <p:nvSpPr>
          <p:cNvPr id="8" name="Text Placeholder 9">
            <a:extLst>
              <a:ext uri="{FF2B5EF4-FFF2-40B4-BE49-F238E27FC236}">
                <a16:creationId xmlns:a16="http://schemas.microsoft.com/office/drawing/2014/main" id="{598768BB-4BDB-C49C-A213-8E609C3B6C15}"/>
              </a:ext>
            </a:extLst>
          </p:cNvPr>
          <p:cNvSpPr>
            <a:spLocks noGrp="1"/>
          </p:cNvSpPr>
          <p:nvPr>
            <p:ph type="body" sz="quarter" idx="13" hasCustomPrompt="1"/>
          </p:nvPr>
        </p:nvSpPr>
        <p:spPr>
          <a:xfrm>
            <a:off x="485523"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3" name="Text Placeholder 9">
            <a:extLst>
              <a:ext uri="{FF2B5EF4-FFF2-40B4-BE49-F238E27FC236}">
                <a16:creationId xmlns:a16="http://schemas.microsoft.com/office/drawing/2014/main" id="{1B146ACC-EAC5-CFE4-53FA-012FF3AD1EC9}"/>
              </a:ext>
            </a:extLst>
          </p:cNvPr>
          <p:cNvSpPr>
            <a:spLocks noGrp="1"/>
          </p:cNvSpPr>
          <p:nvPr>
            <p:ph type="body" sz="quarter" idx="14" hasCustomPrompt="1"/>
          </p:nvPr>
        </p:nvSpPr>
        <p:spPr>
          <a:xfrm>
            <a:off x="485136"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18" name="Text Placeholder 9">
            <a:extLst>
              <a:ext uri="{FF2B5EF4-FFF2-40B4-BE49-F238E27FC236}">
                <a16:creationId xmlns:a16="http://schemas.microsoft.com/office/drawing/2014/main" id="{C63A6034-B161-C968-7B24-9637CAD6BA6D}"/>
              </a:ext>
            </a:extLst>
          </p:cNvPr>
          <p:cNvSpPr>
            <a:spLocks noGrp="1"/>
          </p:cNvSpPr>
          <p:nvPr>
            <p:ph type="body" sz="quarter" idx="16" hasCustomPrompt="1"/>
          </p:nvPr>
        </p:nvSpPr>
        <p:spPr>
          <a:xfrm>
            <a:off x="3378661"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7A93D60F-69E4-2399-3375-10FE08085BF4}"/>
              </a:ext>
            </a:extLst>
          </p:cNvPr>
          <p:cNvSpPr>
            <a:spLocks noGrp="1"/>
          </p:cNvSpPr>
          <p:nvPr>
            <p:ph type="body" sz="quarter" idx="17" hasCustomPrompt="1"/>
          </p:nvPr>
        </p:nvSpPr>
        <p:spPr>
          <a:xfrm>
            <a:off x="3378661"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0" name="Text Placeholder 9">
            <a:extLst>
              <a:ext uri="{FF2B5EF4-FFF2-40B4-BE49-F238E27FC236}">
                <a16:creationId xmlns:a16="http://schemas.microsoft.com/office/drawing/2014/main" id="{73DD63FB-924F-5AA5-D440-E1D8744375EA}"/>
              </a:ext>
            </a:extLst>
          </p:cNvPr>
          <p:cNvSpPr>
            <a:spLocks noGrp="1"/>
          </p:cNvSpPr>
          <p:nvPr>
            <p:ph type="body" sz="quarter" idx="19" hasCustomPrompt="1"/>
          </p:nvPr>
        </p:nvSpPr>
        <p:spPr>
          <a:xfrm>
            <a:off x="6271799"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1" name="Text Placeholder 9">
            <a:extLst>
              <a:ext uri="{FF2B5EF4-FFF2-40B4-BE49-F238E27FC236}">
                <a16:creationId xmlns:a16="http://schemas.microsoft.com/office/drawing/2014/main" id="{4C420FFC-7E58-FD40-8EA4-FE5A7231160E}"/>
              </a:ext>
            </a:extLst>
          </p:cNvPr>
          <p:cNvSpPr>
            <a:spLocks noGrp="1"/>
          </p:cNvSpPr>
          <p:nvPr>
            <p:ph type="body" sz="quarter" idx="20" hasCustomPrompt="1"/>
          </p:nvPr>
        </p:nvSpPr>
        <p:spPr>
          <a:xfrm>
            <a:off x="6272781"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2" name="Text Placeholder 9">
            <a:extLst>
              <a:ext uri="{FF2B5EF4-FFF2-40B4-BE49-F238E27FC236}">
                <a16:creationId xmlns:a16="http://schemas.microsoft.com/office/drawing/2014/main" id="{8E9F923A-3B01-3E5C-5855-1723BB7F4CA4}"/>
              </a:ext>
            </a:extLst>
          </p:cNvPr>
          <p:cNvSpPr>
            <a:spLocks noGrp="1"/>
          </p:cNvSpPr>
          <p:nvPr>
            <p:ph type="body" sz="quarter" idx="22" hasCustomPrompt="1"/>
          </p:nvPr>
        </p:nvSpPr>
        <p:spPr>
          <a:xfrm>
            <a:off x="9164937" y="4437064"/>
            <a:ext cx="2544933" cy="604836"/>
          </a:xfrm>
        </p:spPr>
        <p:txBody>
          <a:bodyPr>
            <a:noAutofit/>
          </a:bodyPr>
          <a:lstStyle>
            <a:lvl1pPr marL="0" indent="0">
              <a:lnSpc>
                <a:spcPct val="90000"/>
              </a:lnSpc>
              <a:buNone/>
              <a:defRPr sz="2400" b="1" i="0">
                <a:latin typeface="+mn-lt"/>
              </a:defRPr>
            </a:lvl1pPr>
          </a:lstStyle>
          <a:p>
            <a:pPr lvl="0"/>
            <a:r>
              <a:rPr lang="en-GB" dirty="0"/>
              <a:t>Name</a:t>
            </a:r>
            <a:endParaRPr lang="en-US" dirty="0"/>
          </a:p>
        </p:txBody>
      </p:sp>
      <p:sp>
        <p:nvSpPr>
          <p:cNvPr id="23" name="Text Placeholder 9">
            <a:extLst>
              <a:ext uri="{FF2B5EF4-FFF2-40B4-BE49-F238E27FC236}">
                <a16:creationId xmlns:a16="http://schemas.microsoft.com/office/drawing/2014/main" id="{B31D3701-39DC-192A-5936-2E64C5419F0C}"/>
              </a:ext>
            </a:extLst>
          </p:cNvPr>
          <p:cNvSpPr>
            <a:spLocks noGrp="1"/>
          </p:cNvSpPr>
          <p:nvPr>
            <p:ph type="body" sz="quarter" idx="23" hasCustomPrompt="1"/>
          </p:nvPr>
        </p:nvSpPr>
        <p:spPr>
          <a:xfrm>
            <a:off x="9166603" y="5243516"/>
            <a:ext cx="2544932" cy="276999"/>
          </a:xfrm>
        </p:spPr>
        <p:txBody>
          <a:bodyPr wrap="square">
            <a:spAutoFit/>
          </a:bodyPr>
          <a:lstStyle>
            <a:lvl1pPr marL="0" indent="0">
              <a:buNone/>
              <a:defRPr sz="1800" b="0" i="0">
                <a:solidFill>
                  <a:schemeClr val="tx2"/>
                </a:solidFill>
                <a:latin typeface="+mn-lt"/>
              </a:defRPr>
            </a:lvl1pPr>
          </a:lstStyle>
          <a:p>
            <a:pPr lvl="0"/>
            <a:r>
              <a:rPr lang="en-GB" dirty="0"/>
              <a:t>Job title</a:t>
            </a:r>
            <a:endParaRPr lang="en-US" dirty="0"/>
          </a:p>
        </p:txBody>
      </p:sp>
      <p:sp>
        <p:nvSpPr>
          <p:cNvPr id="26" name="Picture Placeholder 12">
            <a:extLst>
              <a:ext uri="{FF2B5EF4-FFF2-40B4-BE49-F238E27FC236}">
                <a16:creationId xmlns:a16="http://schemas.microsoft.com/office/drawing/2014/main" id="{72BB5F0C-3F71-0E9C-10EC-E60EE977973D}"/>
              </a:ext>
            </a:extLst>
          </p:cNvPr>
          <p:cNvSpPr>
            <a:spLocks noGrp="1"/>
          </p:cNvSpPr>
          <p:nvPr>
            <p:ph type="pic" sz="quarter" idx="15"/>
          </p:nvPr>
        </p:nvSpPr>
        <p:spPr>
          <a:xfrm>
            <a:off x="486802"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
        <p:nvSpPr>
          <p:cNvPr id="27" name="Picture Placeholder 12">
            <a:extLst>
              <a:ext uri="{FF2B5EF4-FFF2-40B4-BE49-F238E27FC236}">
                <a16:creationId xmlns:a16="http://schemas.microsoft.com/office/drawing/2014/main" id="{BA20E760-3BF7-B812-4C18-5CA6507ABC95}"/>
              </a:ext>
            </a:extLst>
          </p:cNvPr>
          <p:cNvSpPr>
            <a:spLocks noGrp="1"/>
          </p:cNvSpPr>
          <p:nvPr>
            <p:ph type="pic" sz="quarter" idx="18"/>
          </p:nvPr>
        </p:nvSpPr>
        <p:spPr>
          <a:xfrm>
            <a:off x="3380625" y="1693850"/>
            <a:ext cx="2541600" cy="2541600"/>
          </a:xfrm>
          <a:prstGeom prst="ellipse">
            <a:avLst/>
          </a:prstGeom>
        </p:spPr>
        <p:txBody>
          <a:bodyPr anchor="ctr"/>
          <a:lstStyle>
            <a:lvl1pPr marL="0" indent="0" algn="ctr">
              <a:buNone/>
              <a:defRPr/>
            </a:lvl1pPr>
          </a:lstStyle>
          <a:p>
            <a:r>
              <a:rPr lang="en-GB"/>
              <a:t>Click icon to add picture</a:t>
            </a:r>
            <a:endParaRPr lang="en-US" dirty="0"/>
          </a:p>
        </p:txBody>
      </p:sp>
      <p:sp>
        <p:nvSpPr>
          <p:cNvPr id="28" name="Picture Placeholder 12">
            <a:extLst>
              <a:ext uri="{FF2B5EF4-FFF2-40B4-BE49-F238E27FC236}">
                <a16:creationId xmlns:a16="http://schemas.microsoft.com/office/drawing/2014/main" id="{86C2E626-CD04-3251-D0E0-5D23E92FE735}"/>
              </a:ext>
            </a:extLst>
          </p:cNvPr>
          <p:cNvSpPr>
            <a:spLocks noGrp="1"/>
          </p:cNvSpPr>
          <p:nvPr>
            <p:ph type="pic" sz="quarter" idx="21"/>
          </p:nvPr>
        </p:nvSpPr>
        <p:spPr>
          <a:xfrm>
            <a:off x="6274448" y="1693850"/>
            <a:ext cx="2541600" cy="2541600"/>
          </a:xfrm>
          <a:prstGeom prst="ellipse">
            <a:avLst/>
          </a:prstGeom>
        </p:spPr>
        <p:txBody>
          <a:bodyPr anchor="ctr"/>
          <a:lstStyle>
            <a:lvl1pPr marL="0" indent="0" algn="ctr">
              <a:buNone/>
              <a:defRPr/>
            </a:lvl1pPr>
          </a:lstStyle>
          <a:p>
            <a:r>
              <a:rPr lang="en-GB"/>
              <a:t>Click icon to add picture</a:t>
            </a:r>
            <a:endParaRPr lang="en-US" dirty="0"/>
          </a:p>
        </p:txBody>
      </p:sp>
      <p:sp>
        <p:nvSpPr>
          <p:cNvPr id="29" name="Picture Placeholder 12">
            <a:extLst>
              <a:ext uri="{FF2B5EF4-FFF2-40B4-BE49-F238E27FC236}">
                <a16:creationId xmlns:a16="http://schemas.microsoft.com/office/drawing/2014/main" id="{DF5E09A8-5D06-013D-F612-3162F72FF31D}"/>
              </a:ext>
            </a:extLst>
          </p:cNvPr>
          <p:cNvSpPr>
            <a:spLocks noGrp="1"/>
          </p:cNvSpPr>
          <p:nvPr>
            <p:ph type="pic" sz="quarter" idx="24"/>
          </p:nvPr>
        </p:nvSpPr>
        <p:spPr>
          <a:xfrm>
            <a:off x="9168270" y="1693850"/>
            <a:ext cx="2541600" cy="2541600"/>
          </a:xfrm>
          <a:prstGeom prst="ellipse">
            <a:avLst/>
          </a:prstGeom>
        </p:spPr>
        <p:txBody>
          <a:bodyPr anchor="ctr"/>
          <a:lstStyle>
            <a:lvl1pPr marL="0" indent="0" algn="ctr">
              <a:buNone/>
              <a:defRPr/>
            </a:lvl1pPr>
          </a:lstStyle>
          <a:p>
            <a:r>
              <a:rPr lang="en-GB" dirty="0"/>
              <a:t>Click icon to add picture</a:t>
            </a:r>
            <a:endParaRPr lang="en-US" dirty="0"/>
          </a:p>
        </p:txBody>
      </p:sp>
    </p:spTree>
    <p:extLst>
      <p:ext uri="{BB962C8B-B14F-4D97-AF65-F5344CB8AC3E}">
        <p14:creationId xmlns:p14="http://schemas.microsoft.com/office/powerpoint/2010/main" val="211481370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9EC5F5-14E0-4B05-29E6-E9A059AA1002}"/>
              </a:ext>
            </a:extLst>
          </p:cNvPr>
          <p:cNvSpPr>
            <a:spLocks noGrp="1"/>
          </p:cNvSpPr>
          <p:nvPr>
            <p:ph type="title"/>
          </p:nvPr>
        </p:nvSpPr>
        <p:spPr>
          <a:xfrm>
            <a:off x="485523" y="341768"/>
            <a:ext cx="11224347" cy="479719"/>
          </a:xfrm>
        </p:spPr>
        <p:txBody>
          <a:bodyPr/>
          <a:lstStyle/>
          <a:p>
            <a:r>
              <a:rPr lang="en-GB"/>
              <a:t>Click to edit Master title style</a:t>
            </a:r>
            <a:endParaRPr lang="en-US"/>
          </a:p>
        </p:txBody>
      </p:sp>
      <p:sp>
        <p:nvSpPr>
          <p:cNvPr id="14" name="Text Placeholder 9">
            <a:extLst>
              <a:ext uri="{FF2B5EF4-FFF2-40B4-BE49-F238E27FC236}">
                <a16:creationId xmlns:a16="http://schemas.microsoft.com/office/drawing/2014/main" id="{1B7BC80A-0B74-DD25-90D5-7D9F71589678}"/>
              </a:ext>
            </a:extLst>
          </p:cNvPr>
          <p:cNvSpPr>
            <a:spLocks noGrp="1"/>
          </p:cNvSpPr>
          <p:nvPr>
            <p:ph type="body" sz="quarter" idx="13" hasCustomPrompt="1"/>
          </p:nvPr>
        </p:nvSpPr>
        <p:spPr>
          <a:xfrm>
            <a:off x="1508549"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5" name="Text Placeholder 9">
            <a:extLst>
              <a:ext uri="{FF2B5EF4-FFF2-40B4-BE49-F238E27FC236}">
                <a16:creationId xmlns:a16="http://schemas.microsoft.com/office/drawing/2014/main" id="{6F5E5E41-09E4-029C-0E75-C9B547EC8A03}"/>
              </a:ext>
            </a:extLst>
          </p:cNvPr>
          <p:cNvSpPr>
            <a:spLocks noGrp="1"/>
          </p:cNvSpPr>
          <p:nvPr>
            <p:ph type="body" sz="quarter" idx="14" hasCustomPrompt="1"/>
          </p:nvPr>
        </p:nvSpPr>
        <p:spPr>
          <a:xfrm>
            <a:off x="1508549"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16" name="Picture Placeholder 12">
            <a:extLst>
              <a:ext uri="{FF2B5EF4-FFF2-40B4-BE49-F238E27FC236}">
                <a16:creationId xmlns:a16="http://schemas.microsoft.com/office/drawing/2014/main" id="{1A34F1E0-A87C-7178-6538-22253973A914}"/>
              </a:ext>
            </a:extLst>
          </p:cNvPr>
          <p:cNvSpPr>
            <a:spLocks noGrp="1"/>
          </p:cNvSpPr>
          <p:nvPr>
            <p:ph type="pic" sz="quarter" idx="15" hasCustomPrompt="1"/>
          </p:nvPr>
        </p:nvSpPr>
        <p:spPr>
          <a:xfrm>
            <a:off x="485523"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17" name="Text Placeholder 9">
            <a:extLst>
              <a:ext uri="{FF2B5EF4-FFF2-40B4-BE49-F238E27FC236}">
                <a16:creationId xmlns:a16="http://schemas.microsoft.com/office/drawing/2014/main" id="{474E37A4-57E6-2CDF-2A5F-3C554861B75B}"/>
              </a:ext>
            </a:extLst>
          </p:cNvPr>
          <p:cNvSpPr>
            <a:spLocks noGrp="1"/>
          </p:cNvSpPr>
          <p:nvPr>
            <p:ph type="body" sz="quarter" idx="25" hasCustomPrompt="1"/>
          </p:nvPr>
        </p:nvSpPr>
        <p:spPr>
          <a:xfrm>
            <a:off x="485523"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18" name="Text Placeholder 9">
            <a:extLst>
              <a:ext uri="{FF2B5EF4-FFF2-40B4-BE49-F238E27FC236}">
                <a16:creationId xmlns:a16="http://schemas.microsoft.com/office/drawing/2014/main" id="{8116B2E5-B73A-D121-0F3D-AD18A29831EB}"/>
              </a:ext>
            </a:extLst>
          </p:cNvPr>
          <p:cNvSpPr>
            <a:spLocks noGrp="1"/>
          </p:cNvSpPr>
          <p:nvPr>
            <p:ph type="body" sz="quarter" idx="26" hasCustomPrompt="1"/>
          </p:nvPr>
        </p:nvSpPr>
        <p:spPr>
          <a:xfrm>
            <a:off x="1508549"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19" name="Text Placeholder 9">
            <a:extLst>
              <a:ext uri="{FF2B5EF4-FFF2-40B4-BE49-F238E27FC236}">
                <a16:creationId xmlns:a16="http://schemas.microsoft.com/office/drawing/2014/main" id="{EEB861F1-1DCD-AC14-72C5-74E3CBEDCC66}"/>
              </a:ext>
            </a:extLst>
          </p:cNvPr>
          <p:cNvSpPr>
            <a:spLocks noGrp="1"/>
          </p:cNvSpPr>
          <p:nvPr>
            <p:ph type="body" sz="quarter" idx="27" hasCustomPrompt="1"/>
          </p:nvPr>
        </p:nvSpPr>
        <p:spPr>
          <a:xfrm>
            <a:off x="1508549"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0" name="Picture Placeholder 12">
            <a:extLst>
              <a:ext uri="{FF2B5EF4-FFF2-40B4-BE49-F238E27FC236}">
                <a16:creationId xmlns:a16="http://schemas.microsoft.com/office/drawing/2014/main" id="{2AD0FA3F-F163-4A05-299B-BC661CE2D5AA}"/>
              </a:ext>
            </a:extLst>
          </p:cNvPr>
          <p:cNvSpPr>
            <a:spLocks noGrp="1"/>
          </p:cNvSpPr>
          <p:nvPr>
            <p:ph type="pic" sz="quarter" idx="28" hasCustomPrompt="1"/>
          </p:nvPr>
        </p:nvSpPr>
        <p:spPr>
          <a:xfrm>
            <a:off x="485523"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1" name="Text Placeholder 9">
            <a:extLst>
              <a:ext uri="{FF2B5EF4-FFF2-40B4-BE49-F238E27FC236}">
                <a16:creationId xmlns:a16="http://schemas.microsoft.com/office/drawing/2014/main" id="{E5857066-46A9-72C9-EBC1-46A671B0000D}"/>
              </a:ext>
            </a:extLst>
          </p:cNvPr>
          <p:cNvSpPr>
            <a:spLocks noGrp="1"/>
          </p:cNvSpPr>
          <p:nvPr>
            <p:ph type="body" sz="quarter" idx="29" hasCustomPrompt="1"/>
          </p:nvPr>
        </p:nvSpPr>
        <p:spPr>
          <a:xfrm>
            <a:off x="1508549"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2" name="Text Placeholder 9">
            <a:extLst>
              <a:ext uri="{FF2B5EF4-FFF2-40B4-BE49-F238E27FC236}">
                <a16:creationId xmlns:a16="http://schemas.microsoft.com/office/drawing/2014/main" id="{018DCA9A-F508-544F-26AE-564194DADCBA}"/>
              </a:ext>
            </a:extLst>
          </p:cNvPr>
          <p:cNvSpPr>
            <a:spLocks noGrp="1"/>
          </p:cNvSpPr>
          <p:nvPr>
            <p:ph type="body" sz="quarter" idx="30" hasCustomPrompt="1"/>
          </p:nvPr>
        </p:nvSpPr>
        <p:spPr>
          <a:xfrm>
            <a:off x="1508549"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27" name="Picture Placeholder 12">
            <a:extLst>
              <a:ext uri="{FF2B5EF4-FFF2-40B4-BE49-F238E27FC236}">
                <a16:creationId xmlns:a16="http://schemas.microsoft.com/office/drawing/2014/main" id="{0057E680-F84B-F640-97B3-1574895E5903}"/>
              </a:ext>
            </a:extLst>
          </p:cNvPr>
          <p:cNvSpPr>
            <a:spLocks noGrp="1"/>
          </p:cNvSpPr>
          <p:nvPr>
            <p:ph type="pic" sz="quarter" idx="31" hasCustomPrompt="1"/>
          </p:nvPr>
        </p:nvSpPr>
        <p:spPr>
          <a:xfrm>
            <a:off x="485523"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28" name="Text Placeholder 9">
            <a:extLst>
              <a:ext uri="{FF2B5EF4-FFF2-40B4-BE49-F238E27FC236}">
                <a16:creationId xmlns:a16="http://schemas.microsoft.com/office/drawing/2014/main" id="{7A0A840B-4CD0-8E51-0DB8-CAA8C5CE5614}"/>
              </a:ext>
            </a:extLst>
          </p:cNvPr>
          <p:cNvSpPr>
            <a:spLocks noGrp="1"/>
          </p:cNvSpPr>
          <p:nvPr>
            <p:ph type="body" sz="quarter" idx="32" hasCustomPrompt="1"/>
          </p:nvPr>
        </p:nvSpPr>
        <p:spPr>
          <a:xfrm>
            <a:off x="1508549"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29" name="Text Placeholder 9">
            <a:extLst>
              <a:ext uri="{FF2B5EF4-FFF2-40B4-BE49-F238E27FC236}">
                <a16:creationId xmlns:a16="http://schemas.microsoft.com/office/drawing/2014/main" id="{907FD0F3-2EFB-1048-729B-F8D9C5387EBD}"/>
              </a:ext>
            </a:extLst>
          </p:cNvPr>
          <p:cNvSpPr>
            <a:spLocks noGrp="1"/>
          </p:cNvSpPr>
          <p:nvPr>
            <p:ph type="body" sz="quarter" idx="33" hasCustomPrompt="1"/>
          </p:nvPr>
        </p:nvSpPr>
        <p:spPr>
          <a:xfrm>
            <a:off x="1508549"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0" name="Picture Placeholder 12">
            <a:extLst>
              <a:ext uri="{FF2B5EF4-FFF2-40B4-BE49-F238E27FC236}">
                <a16:creationId xmlns:a16="http://schemas.microsoft.com/office/drawing/2014/main" id="{8F182A88-FA5D-6BF5-64A4-F27206333D05}"/>
              </a:ext>
            </a:extLst>
          </p:cNvPr>
          <p:cNvSpPr>
            <a:spLocks noGrp="1"/>
          </p:cNvSpPr>
          <p:nvPr>
            <p:ph type="pic" sz="quarter" idx="34" hasCustomPrompt="1"/>
          </p:nvPr>
        </p:nvSpPr>
        <p:spPr>
          <a:xfrm>
            <a:off x="485523"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1" name="Text Placeholder 9">
            <a:extLst>
              <a:ext uri="{FF2B5EF4-FFF2-40B4-BE49-F238E27FC236}">
                <a16:creationId xmlns:a16="http://schemas.microsoft.com/office/drawing/2014/main" id="{0E55779C-A246-7AA1-1246-32F3BAC3E9F9}"/>
              </a:ext>
            </a:extLst>
          </p:cNvPr>
          <p:cNvSpPr>
            <a:spLocks noGrp="1"/>
          </p:cNvSpPr>
          <p:nvPr>
            <p:ph type="body" sz="quarter" idx="35" hasCustomPrompt="1"/>
          </p:nvPr>
        </p:nvSpPr>
        <p:spPr>
          <a:xfrm>
            <a:off x="439999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2" name="Text Placeholder 9">
            <a:extLst>
              <a:ext uri="{FF2B5EF4-FFF2-40B4-BE49-F238E27FC236}">
                <a16:creationId xmlns:a16="http://schemas.microsoft.com/office/drawing/2014/main" id="{AE906D56-BF94-FEC3-DB85-DEC802C0EDF2}"/>
              </a:ext>
            </a:extLst>
          </p:cNvPr>
          <p:cNvSpPr>
            <a:spLocks noGrp="1"/>
          </p:cNvSpPr>
          <p:nvPr>
            <p:ph type="body" sz="quarter" idx="36" hasCustomPrompt="1"/>
          </p:nvPr>
        </p:nvSpPr>
        <p:spPr>
          <a:xfrm>
            <a:off x="439999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3" name="Picture Placeholder 12">
            <a:extLst>
              <a:ext uri="{FF2B5EF4-FFF2-40B4-BE49-F238E27FC236}">
                <a16:creationId xmlns:a16="http://schemas.microsoft.com/office/drawing/2014/main" id="{CF08BE99-68E9-C172-4584-192EAC7EBA24}"/>
              </a:ext>
            </a:extLst>
          </p:cNvPr>
          <p:cNvSpPr>
            <a:spLocks noGrp="1"/>
          </p:cNvSpPr>
          <p:nvPr>
            <p:ph type="pic" sz="quarter" idx="37" hasCustomPrompt="1"/>
          </p:nvPr>
        </p:nvSpPr>
        <p:spPr>
          <a:xfrm>
            <a:off x="3377372"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4" name="Text Placeholder 9">
            <a:extLst>
              <a:ext uri="{FF2B5EF4-FFF2-40B4-BE49-F238E27FC236}">
                <a16:creationId xmlns:a16="http://schemas.microsoft.com/office/drawing/2014/main" id="{61B59087-059A-8552-985C-C458B49492E5}"/>
              </a:ext>
            </a:extLst>
          </p:cNvPr>
          <p:cNvSpPr>
            <a:spLocks noGrp="1"/>
          </p:cNvSpPr>
          <p:nvPr>
            <p:ph type="body" sz="quarter" idx="38" hasCustomPrompt="1"/>
          </p:nvPr>
        </p:nvSpPr>
        <p:spPr>
          <a:xfrm>
            <a:off x="3377372"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35" name="Text Placeholder 9">
            <a:extLst>
              <a:ext uri="{FF2B5EF4-FFF2-40B4-BE49-F238E27FC236}">
                <a16:creationId xmlns:a16="http://schemas.microsoft.com/office/drawing/2014/main" id="{B80CEAFC-3F56-53A9-7CA1-6FF2EFEA9F71}"/>
              </a:ext>
            </a:extLst>
          </p:cNvPr>
          <p:cNvSpPr>
            <a:spLocks noGrp="1"/>
          </p:cNvSpPr>
          <p:nvPr>
            <p:ph type="body" sz="quarter" idx="39" hasCustomPrompt="1"/>
          </p:nvPr>
        </p:nvSpPr>
        <p:spPr>
          <a:xfrm>
            <a:off x="439999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6" name="Text Placeholder 9">
            <a:extLst>
              <a:ext uri="{FF2B5EF4-FFF2-40B4-BE49-F238E27FC236}">
                <a16:creationId xmlns:a16="http://schemas.microsoft.com/office/drawing/2014/main" id="{1F927087-C230-38DF-C1BC-D979647576EB}"/>
              </a:ext>
            </a:extLst>
          </p:cNvPr>
          <p:cNvSpPr>
            <a:spLocks noGrp="1"/>
          </p:cNvSpPr>
          <p:nvPr>
            <p:ph type="body" sz="quarter" idx="40" hasCustomPrompt="1"/>
          </p:nvPr>
        </p:nvSpPr>
        <p:spPr>
          <a:xfrm>
            <a:off x="439999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37" name="Picture Placeholder 12">
            <a:extLst>
              <a:ext uri="{FF2B5EF4-FFF2-40B4-BE49-F238E27FC236}">
                <a16:creationId xmlns:a16="http://schemas.microsoft.com/office/drawing/2014/main" id="{E5B079F2-242E-7156-DFAD-AED073123B53}"/>
              </a:ext>
            </a:extLst>
          </p:cNvPr>
          <p:cNvSpPr>
            <a:spLocks noGrp="1"/>
          </p:cNvSpPr>
          <p:nvPr>
            <p:ph type="pic" sz="quarter" idx="41" hasCustomPrompt="1"/>
          </p:nvPr>
        </p:nvSpPr>
        <p:spPr>
          <a:xfrm>
            <a:off x="3377372"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38" name="Text Placeholder 9">
            <a:extLst>
              <a:ext uri="{FF2B5EF4-FFF2-40B4-BE49-F238E27FC236}">
                <a16:creationId xmlns:a16="http://schemas.microsoft.com/office/drawing/2014/main" id="{BAD8BB7A-C875-E730-22F2-58BF881807E3}"/>
              </a:ext>
            </a:extLst>
          </p:cNvPr>
          <p:cNvSpPr>
            <a:spLocks noGrp="1"/>
          </p:cNvSpPr>
          <p:nvPr>
            <p:ph type="body" sz="quarter" idx="42" hasCustomPrompt="1"/>
          </p:nvPr>
        </p:nvSpPr>
        <p:spPr>
          <a:xfrm>
            <a:off x="439999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39" name="Text Placeholder 9">
            <a:extLst>
              <a:ext uri="{FF2B5EF4-FFF2-40B4-BE49-F238E27FC236}">
                <a16:creationId xmlns:a16="http://schemas.microsoft.com/office/drawing/2014/main" id="{428864EC-7BF7-9E3F-14AA-1569F68FDBF7}"/>
              </a:ext>
            </a:extLst>
          </p:cNvPr>
          <p:cNvSpPr>
            <a:spLocks noGrp="1"/>
          </p:cNvSpPr>
          <p:nvPr>
            <p:ph type="body" sz="quarter" idx="43" hasCustomPrompt="1"/>
          </p:nvPr>
        </p:nvSpPr>
        <p:spPr>
          <a:xfrm>
            <a:off x="439999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0" name="Picture Placeholder 12">
            <a:extLst>
              <a:ext uri="{FF2B5EF4-FFF2-40B4-BE49-F238E27FC236}">
                <a16:creationId xmlns:a16="http://schemas.microsoft.com/office/drawing/2014/main" id="{01784631-4FDE-2C65-08D2-90389B52BB27}"/>
              </a:ext>
            </a:extLst>
          </p:cNvPr>
          <p:cNvSpPr>
            <a:spLocks noGrp="1"/>
          </p:cNvSpPr>
          <p:nvPr>
            <p:ph type="pic" sz="quarter" idx="44" hasCustomPrompt="1"/>
          </p:nvPr>
        </p:nvSpPr>
        <p:spPr>
          <a:xfrm>
            <a:off x="3377372"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1" name="Text Placeholder 9">
            <a:extLst>
              <a:ext uri="{FF2B5EF4-FFF2-40B4-BE49-F238E27FC236}">
                <a16:creationId xmlns:a16="http://schemas.microsoft.com/office/drawing/2014/main" id="{0154653D-5642-2E90-794A-C1E075F2C194}"/>
              </a:ext>
            </a:extLst>
          </p:cNvPr>
          <p:cNvSpPr>
            <a:spLocks noGrp="1"/>
          </p:cNvSpPr>
          <p:nvPr>
            <p:ph type="body" sz="quarter" idx="45" hasCustomPrompt="1"/>
          </p:nvPr>
        </p:nvSpPr>
        <p:spPr>
          <a:xfrm>
            <a:off x="439999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2" name="Text Placeholder 9">
            <a:extLst>
              <a:ext uri="{FF2B5EF4-FFF2-40B4-BE49-F238E27FC236}">
                <a16:creationId xmlns:a16="http://schemas.microsoft.com/office/drawing/2014/main" id="{7B745924-C16B-48BF-AE37-F5CD447BF3BE}"/>
              </a:ext>
            </a:extLst>
          </p:cNvPr>
          <p:cNvSpPr>
            <a:spLocks noGrp="1"/>
          </p:cNvSpPr>
          <p:nvPr>
            <p:ph type="body" sz="quarter" idx="46" hasCustomPrompt="1"/>
          </p:nvPr>
        </p:nvSpPr>
        <p:spPr>
          <a:xfrm>
            <a:off x="439999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3" name="Picture Placeholder 12">
            <a:extLst>
              <a:ext uri="{FF2B5EF4-FFF2-40B4-BE49-F238E27FC236}">
                <a16:creationId xmlns:a16="http://schemas.microsoft.com/office/drawing/2014/main" id="{4E35CBCD-AFBE-52EA-7BC2-89F29ED83F88}"/>
              </a:ext>
            </a:extLst>
          </p:cNvPr>
          <p:cNvSpPr>
            <a:spLocks noGrp="1"/>
          </p:cNvSpPr>
          <p:nvPr>
            <p:ph type="pic" sz="quarter" idx="47" hasCustomPrompt="1"/>
          </p:nvPr>
        </p:nvSpPr>
        <p:spPr>
          <a:xfrm>
            <a:off x="3377372"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4" name="Text Placeholder 9">
            <a:extLst>
              <a:ext uri="{FF2B5EF4-FFF2-40B4-BE49-F238E27FC236}">
                <a16:creationId xmlns:a16="http://schemas.microsoft.com/office/drawing/2014/main" id="{C6A4FD7C-43FE-CC16-4728-179DD98E56D5}"/>
              </a:ext>
            </a:extLst>
          </p:cNvPr>
          <p:cNvSpPr>
            <a:spLocks noGrp="1"/>
          </p:cNvSpPr>
          <p:nvPr>
            <p:ph type="body" sz="quarter" idx="48" hasCustomPrompt="1"/>
          </p:nvPr>
        </p:nvSpPr>
        <p:spPr>
          <a:xfrm>
            <a:off x="7292514"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5" name="Text Placeholder 9">
            <a:extLst>
              <a:ext uri="{FF2B5EF4-FFF2-40B4-BE49-F238E27FC236}">
                <a16:creationId xmlns:a16="http://schemas.microsoft.com/office/drawing/2014/main" id="{CCC5923F-9079-4223-BD7D-2ECA17762C80}"/>
              </a:ext>
            </a:extLst>
          </p:cNvPr>
          <p:cNvSpPr>
            <a:spLocks noGrp="1"/>
          </p:cNvSpPr>
          <p:nvPr>
            <p:ph type="body" sz="quarter" idx="49" hasCustomPrompt="1"/>
          </p:nvPr>
        </p:nvSpPr>
        <p:spPr>
          <a:xfrm>
            <a:off x="7292514"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46" name="Picture Placeholder 12">
            <a:extLst>
              <a:ext uri="{FF2B5EF4-FFF2-40B4-BE49-F238E27FC236}">
                <a16:creationId xmlns:a16="http://schemas.microsoft.com/office/drawing/2014/main" id="{D730576F-217C-362A-C36F-674299D51B91}"/>
              </a:ext>
            </a:extLst>
          </p:cNvPr>
          <p:cNvSpPr>
            <a:spLocks noGrp="1"/>
          </p:cNvSpPr>
          <p:nvPr>
            <p:ph type="pic" sz="quarter" idx="50" hasCustomPrompt="1"/>
          </p:nvPr>
        </p:nvSpPr>
        <p:spPr>
          <a:xfrm>
            <a:off x="6269221"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47" name="Text Placeholder 9">
            <a:extLst>
              <a:ext uri="{FF2B5EF4-FFF2-40B4-BE49-F238E27FC236}">
                <a16:creationId xmlns:a16="http://schemas.microsoft.com/office/drawing/2014/main" id="{683AAA8B-B0B9-8676-2816-59B9081C3443}"/>
              </a:ext>
            </a:extLst>
          </p:cNvPr>
          <p:cNvSpPr>
            <a:spLocks noGrp="1"/>
          </p:cNvSpPr>
          <p:nvPr>
            <p:ph type="body" sz="quarter" idx="51" hasCustomPrompt="1"/>
          </p:nvPr>
        </p:nvSpPr>
        <p:spPr>
          <a:xfrm>
            <a:off x="6269221"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48" name="Text Placeholder 9">
            <a:extLst>
              <a:ext uri="{FF2B5EF4-FFF2-40B4-BE49-F238E27FC236}">
                <a16:creationId xmlns:a16="http://schemas.microsoft.com/office/drawing/2014/main" id="{66FDE5EC-EECA-8ACE-6501-3066CB7FE8A4}"/>
              </a:ext>
            </a:extLst>
          </p:cNvPr>
          <p:cNvSpPr>
            <a:spLocks noGrp="1"/>
          </p:cNvSpPr>
          <p:nvPr>
            <p:ph type="body" sz="quarter" idx="52" hasCustomPrompt="1"/>
          </p:nvPr>
        </p:nvSpPr>
        <p:spPr>
          <a:xfrm>
            <a:off x="7292514"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49" name="Text Placeholder 9">
            <a:extLst>
              <a:ext uri="{FF2B5EF4-FFF2-40B4-BE49-F238E27FC236}">
                <a16:creationId xmlns:a16="http://schemas.microsoft.com/office/drawing/2014/main" id="{73D20F87-E90C-42D0-0ED6-6300216BB309}"/>
              </a:ext>
            </a:extLst>
          </p:cNvPr>
          <p:cNvSpPr>
            <a:spLocks noGrp="1"/>
          </p:cNvSpPr>
          <p:nvPr>
            <p:ph type="body" sz="quarter" idx="53" hasCustomPrompt="1"/>
          </p:nvPr>
        </p:nvSpPr>
        <p:spPr>
          <a:xfrm>
            <a:off x="7292514"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0" name="Picture Placeholder 12">
            <a:extLst>
              <a:ext uri="{FF2B5EF4-FFF2-40B4-BE49-F238E27FC236}">
                <a16:creationId xmlns:a16="http://schemas.microsoft.com/office/drawing/2014/main" id="{03693376-1C6C-F15B-897B-29DF694405E9}"/>
              </a:ext>
            </a:extLst>
          </p:cNvPr>
          <p:cNvSpPr>
            <a:spLocks noGrp="1"/>
          </p:cNvSpPr>
          <p:nvPr>
            <p:ph type="pic" sz="quarter" idx="54" hasCustomPrompt="1"/>
          </p:nvPr>
        </p:nvSpPr>
        <p:spPr>
          <a:xfrm>
            <a:off x="6269221"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1" name="Text Placeholder 9">
            <a:extLst>
              <a:ext uri="{FF2B5EF4-FFF2-40B4-BE49-F238E27FC236}">
                <a16:creationId xmlns:a16="http://schemas.microsoft.com/office/drawing/2014/main" id="{77461B86-A1F2-292C-BC4A-3A720C40ECF3}"/>
              </a:ext>
            </a:extLst>
          </p:cNvPr>
          <p:cNvSpPr>
            <a:spLocks noGrp="1"/>
          </p:cNvSpPr>
          <p:nvPr>
            <p:ph type="body" sz="quarter" idx="55" hasCustomPrompt="1"/>
          </p:nvPr>
        </p:nvSpPr>
        <p:spPr>
          <a:xfrm>
            <a:off x="7292514"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2" name="Text Placeholder 9">
            <a:extLst>
              <a:ext uri="{FF2B5EF4-FFF2-40B4-BE49-F238E27FC236}">
                <a16:creationId xmlns:a16="http://schemas.microsoft.com/office/drawing/2014/main" id="{32236890-E7EA-252D-D7B2-D649918B3AD8}"/>
              </a:ext>
            </a:extLst>
          </p:cNvPr>
          <p:cNvSpPr>
            <a:spLocks noGrp="1"/>
          </p:cNvSpPr>
          <p:nvPr>
            <p:ph type="body" sz="quarter" idx="56" hasCustomPrompt="1"/>
          </p:nvPr>
        </p:nvSpPr>
        <p:spPr>
          <a:xfrm>
            <a:off x="7292514"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3" name="Picture Placeholder 12">
            <a:extLst>
              <a:ext uri="{FF2B5EF4-FFF2-40B4-BE49-F238E27FC236}">
                <a16:creationId xmlns:a16="http://schemas.microsoft.com/office/drawing/2014/main" id="{9D7279F8-145F-2BC9-392D-C195932B23E9}"/>
              </a:ext>
            </a:extLst>
          </p:cNvPr>
          <p:cNvSpPr>
            <a:spLocks noGrp="1"/>
          </p:cNvSpPr>
          <p:nvPr>
            <p:ph type="pic" sz="quarter" idx="57" hasCustomPrompt="1"/>
          </p:nvPr>
        </p:nvSpPr>
        <p:spPr>
          <a:xfrm>
            <a:off x="6269221"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4" name="Text Placeholder 9">
            <a:extLst>
              <a:ext uri="{FF2B5EF4-FFF2-40B4-BE49-F238E27FC236}">
                <a16:creationId xmlns:a16="http://schemas.microsoft.com/office/drawing/2014/main" id="{38CC5E8C-843D-F801-E86E-74E733EC4AC7}"/>
              </a:ext>
            </a:extLst>
          </p:cNvPr>
          <p:cNvSpPr>
            <a:spLocks noGrp="1"/>
          </p:cNvSpPr>
          <p:nvPr>
            <p:ph type="body" sz="quarter" idx="58" hasCustomPrompt="1"/>
          </p:nvPr>
        </p:nvSpPr>
        <p:spPr>
          <a:xfrm>
            <a:off x="7292514"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5" name="Text Placeholder 9">
            <a:extLst>
              <a:ext uri="{FF2B5EF4-FFF2-40B4-BE49-F238E27FC236}">
                <a16:creationId xmlns:a16="http://schemas.microsoft.com/office/drawing/2014/main" id="{1F5E5E23-4BD8-2BF8-132F-46B1EEF1CE42}"/>
              </a:ext>
            </a:extLst>
          </p:cNvPr>
          <p:cNvSpPr>
            <a:spLocks noGrp="1"/>
          </p:cNvSpPr>
          <p:nvPr>
            <p:ph type="body" sz="quarter" idx="59" hasCustomPrompt="1"/>
          </p:nvPr>
        </p:nvSpPr>
        <p:spPr>
          <a:xfrm>
            <a:off x="7292514"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6" name="Picture Placeholder 12">
            <a:extLst>
              <a:ext uri="{FF2B5EF4-FFF2-40B4-BE49-F238E27FC236}">
                <a16:creationId xmlns:a16="http://schemas.microsoft.com/office/drawing/2014/main" id="{5CD9EB6F-BA12-B7A4-0F8D-EF9271F7223A}"/>
              </a:ext>
            </a:extLst>
          </p:cNvPr>
          <p:cNvSpPr>
            <a:spLocks noGrp="1"/>
          </p:cNvSpPr>
          <p:nvPr>
            <p:ph type="pic" sz="quarter" idx="60" hasCustomPrompt="1"/>
          </p:nvPr>
        </p:nvSpPr>
        <p:spPr>
          <a:xfrm>
            <a:off x="6269221"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57" name="Text Placeholder 9">
            <a:extLst>
              <a:ext uri="{FF2B5EF4-FFF2-40B4-BE49-F238E27FC236}">
                <a16:creationId xmlns:a16="http://schemas.microsoft.com/office/drawing/2014/main" id="{23566F37-EF18-0360-14F6-C03B12159510}"/>
              </a:ext>
            </a:extLst>
          </p:cNvPr>
          <p:cNvSpPr>
            <a:spLocks noGrp="1"/>
          </p:cNvSpPr>
          <p:nvPr>
            <p:ph type="body" sz="quarter" idx="61" hasCustomPrompt="1"/>
          </p:nvPr>
        </p:nvSpPr>
        <p:spPr>
          <a:xfrm>
            <a:off x="10176432" y="20161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58" name="Text Placeholder 9">
            <a:extLst>
              <a:ext uri="{FF2B5EF4-FFF2-40B4-BE49-F238E27FC236}">
                <a16:creationId xmlns:a16="http://schemas.microsoft.com/office/drawing/2014/main" id="{58D642CD-278F-34F9-CF75-99A7339353CF}"/>
              </a:ext>
            </a:extLst>
          </p:cNvPr>
          <p:cNvSpPr>
            <a:spLocks noGrp="1"/>
          </p:cNvSpPr>
          <p:nvPr>
            <p:ph type="body" sz="quarter" idx="62" hasCustomPrompt="1"/>
          </p:nvPr>
        </p:nvSpPr>
        <p:spPr>
          <a:xfrm>
            <a:off x="10176432" y="24193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59" name="Picture Placeholder 12">
            <a:extLst>
              <a:ext uri="{FF2B5EF4-FFF2-40B4-BE49-F238E27FC236}">
                <a16:creationId xmlns:a16="http://schemas.microsoft.com/office/drawing/2014/main" id="{4F6E90F8-DB8A-5E9D-7163-AC30457FEAC0}"/>
              </a:ext>
            </a:extLst>
          </p:cNvPr>
          <p:cNvSpPr>
            <a:spLocks noGrp="1"/>
          </p:cNvSpPr>
          <p:nvPr>
            <p:ph type="pic" sz="quarter" idx="63" hasCustomPrompt="1"/>
          </p:nvPr>
        </p:nvSpPr>
        <p:spPr>
          <a:xfrm>
            <a:off x="9161070" y="20161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0" name="Text Placeholder 9">
            <a:extLst>
              <a:ext uri="{FF2B5EF4-FFF2-40B4-BE49-F238E27FC236}">
                <a16:creationId xmlns:a16="http://schemas.microsoft.com/office/drawing/2014/main" id="{7435555B-D553-70C9-B67C-5A661E9585CD}"/>
              </a:ext>
            </a:extLst>
          </p:cNvPr>
          <p:cNvSpPr>
            <a:spLocks noGrp="1"/>
          </p:cNvSpPr>
          <p:nvPr>
            <p:ph type="body" sz="quarter" idx="64" hasCustomPrompt="1"/>
          </p:nvPr>
        </p:nvSpPr>
        <p:spPr>
          <a:xfrm>
            <a:off x="9161070" y="1411287"/>
            <a:ext cx="2548800" cy="196124"/>
          </a:xfrm>
        </p:spPr>
        <p:txBody>
          <a:bodyPr>
            <a:noAutofit/>
          </a:bodyPr>
          <a:lstStyle>
            <a:lvl1pPr marL="0" indent="0">
              <a:lnSpc>
                <a:spcPct val="90000"/>
              </a:lnSpc>
              <a:buNone/>
              <a:defRPr sz="1400" b="1" i="0">
                <a:latin typeface="EYInterstate" panose="02000503020000020004" pitchFamily="2" charset="0"/>
              </a:defRPr>
            </a:lvl1pPr>
          </a:lstStyle>
          <a:p>
            <a:pPr lvl="0"/>
            <a:r>
              <a:rPr lang="en-GB" dirty="0"/>
              <a:t>Team name</a:t>
            </a:r>
            <a:endParaRPr lang="en-US" dirty="0"/>
          </a:p>
        </p:txBody>
      </p:sp>
      <p:sp>
        <p:nvSpPr>
          <p:cNvPr id="61" name="Text Placeholder 9">
            <a:extLst>
              <a:ext uri="{FF2B5EF4-FFF2-40B4-BE49-F238E27FC236}">
                <a16:creationId xmlns:a16="http://schemas.microsoft.com/office/drawing/2014/main" id="{5DB8DE5C-79AE-8E49-DC40-B4E1DDB68BA5}"/>
              </a:ext>
            </a:extLst>
          </p:cNvPr>
          <p:cNvSpPr>
            <a:spLocks noGrp="1"/>
          </p:cNvSpPr>
          <p:nvPr>
            <p:ph type="body" sz="quarter" idx="65" hasCustomPrompt="1"/>
          </p:nvPr>
        </p:nvSpPr>
        <p:spPr>
          <a:xfrm>
            <a:off x="10176432" y="30219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2" name="Text Placeholder 9">
            <a:extLst>
              <a:ext uri="{FF2B5EF4-FFF2-40B4-BE49-F238E27FC236}">
                <a16:creationId xmlns:a16="http://schemas.microsoft.com/office/drawing/2014/main" id="{289E0F5F-936F-FA54-01D7-5CD0040D07C7}"/>
              </a:ext>
            </a:extLst>
          </p:cNvPr>
          <p:cNvSpPr>
            <a:spLocks noGrp="1"/>
          </p:cNvSpPr>
          <p:nvPr>
            <p:ph type="body" sz="quarter" idx="66" hasCustomPrompt="1"/>
          </p:nvPr>
        </p:nvSpPr>
        <p:spPr>
          <a:xfrm>
            <a:off x="10176432" y="34251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3" name="Picture Placeholder 12">
            <a:extLst>
              <a:ext uri="{FF2B5EF4-FFF2-40B4-BE49-F238E27FC236}">
                <a16:creationId xmlns:a16="http://schemas.microsoft.com/office/drawing/2014/main" id="{11FBE638-0595-F8E5-AFBB-43DC12983672}"/>
              </a:ext>
            </a:extLst>
          </p:cNvPr>
          <p:cNvSpPr>
            <a:spLocks noGrp="1"/>
          </p:cNvSpPr>
          <p:nvPr>
            <p:ph type="pic" sz="quarter" idx="67" hasCustomPrompt="1"/>
          </p:nvPr>
        </p:nvSpPr>
        <p:spPr>
          <a:xfrm>
            <a:off x="9161070" y="30219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4" name="Text Placeholder 9">
            <a:extLst>
              <a:ext uri="{FF2B5EF4-FFF2-40B4-BE49-F238E27FC236}">
                <a16:creationId xmlns:a16="http://schemas.microsoft.com/office/drawing/2014/main" id="{A3352A0C-1A08-FCFC-FF9C-CCA8F22308AE}"/>
              </a:ext>
            </a:extLst>
          </p:cNvPr>
          <p:cNvSpPr>
            <a:spLocks noGrp="1"/>
          </p:cNvSpPr>
          <p:nvPr>
            <p:ph type="body" sz="quarter" idx="68" hasCustomPrompt="1"/>
          </p:nvPr>
        </p:nvSpPr>
        <p:spPr>
          <a:xfrm>
            <a:off x="10176432" y="403542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5" name="Text Placeholder 9">
            <a:extLst>
              <a:ext uri="{FF2B5EF4-FFF2-40B4-BE49-F238E27FC236}">
                <a16:creationId xmlns:a16="http://schemas.microsoft.com/office/drawing/2014/main" id="{6E261588-76E1-16B7-8374-3F9A28832EF4}"/>
              </a:ext>
            </a:extLst>
          </p:cNvPr>
          <p:cNvSpPr>
            <a:spLocks noGrp="1"/>
          </p:cNvSpPr>
          <p:nvPr>
            <p:ph type="body" sz="quarter" idx="69" hasCustomPrompt="1"/>
          </p:nvPr>
        </p:nvSpPr>
        <p:spPr>
          <a:xfrm>
            <a:off x="10176432" y="443864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6" name="Picture Placeholder 12">
            <a:extLst>
              <a:ext uri="{FF2B5EF4-FFF2-40B4-BE49-F238E27FC236}">
                <a16:creationId xmlns:a16="http://schemas.microsoft.com/office/drawing/2014/main" id="{CAE85F7E-2BA3-3513-9E8B-8B03FE7AAC4C}"/>
              </a:ext>
            </a:extLst>
          </p:cNvPr>
          <p:cNvSpPr>
            <a:spLocks noGrp="1"/>
          </p:cNvSpPr>
          <p:nvPr>
            <p:ph type="pic" sz="quarter" idx="70" hasCustomPrompt="1"/>
          </p:nvPr>
        </p:nvSpPr>
        <p:spPr>
          <a:xfrm>
            <a:off x="9161070" y="403542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67" name="Text Placeholder 9">
            <a:extLst>
              <a:ext uri="{FF2B5EF4-FFF2-40B4-BE49-F238E27FC236}">
                <a16:creationId xmlns:a16="http://schemas.microsoft.com/office/drawing/2014/main" id="{7280094F-B199-060D-4D4B-CA4F1BFCF5F3}"/>
              </a:ext>
            </a:extLst>
          </p:cNvPr>
          <p:cNvSpPr>
            <a:spLocks noGrp="1"/>
          </p:cNvSpPr>
          <p:nvPr>
            <p:ph type="body" sz="quarter" idx="71" hasCustomPrompt="1"/>
          </p:nvPr>
        </p:nvSpPr>
        <p:spPr>
          <a:xfrm>
            <a:off x="10176432" y="5041264"/>
            <a:ext cx="1526400" cy="389756"/>
          </a:xfrm>
        </p:spPr>
        <p:txBody>
          <a:bodyPr>
            <a:noAutofit/>
          </a:bodyPr>
          <a:lstStyle>
            <a:lvl1pPr marL="0" indent="0">
              <a:lnSpc>
                <a:spcPct val="90000"/>
              </a:lnSpc>
              <a:buNone/>
              <a:defRPr sz="1400" b="0" i="0">
                <a:latin typeface="+mn-lt"/>
              </a:defRPr>
            </a:lvl1pPr>
          </a:lstStyle>
          <a:p>
            <a:pPr lvl="0"/>
            <a:r>
              <a:rPr lang="en-GB" dirty="0"/>
              <a:t>Name</a:t>
            </a:r>
            <a:endParaRPr lang="en-US" dirty="0"/>
          </a:p>
        </p:txBody>
      </p:sp>
      <p:sp>
        <p:nvSpPr>
          <p:cNvPr id="68" name="Text Placeholder 9">
            <a:extLst>
              <a:ext uri="{FF2B5EF4-FFF2-40B4-BE49-F238E27FC236}">
                <a16:creationId xmlns:a16="http://schemas.microsoft.com/office/drawing/2014/main" id="{253E3C85-558C-05C1-155E-0E52AA94351F}"/>
              </a:ext>
            </a:extLst>
          </p:cNvPr>
          <p:cNvSpPr>
            <a:spLocks noGrp="1"/>
          </p:cNvSpPr>
          <p:nvPr>
            <p:ph type="body" sz="quarter" idx="72" hasCustomPrompt="1"/>
          </p:nvPr>
        </p:nvSpPr>
        <p:spPr>
          <a:xfrm>
            <a:off x="10176432" y="5444489"/>
            <a:ext cx="1526400" cy="153888"/>
          </a:xfrm>
        </p:spPr>
        <p:txBody>
          <a:bodyPr wrap="square">
            <a:spAutoFit/>
          </a:bodyPr>
          <a:lstStyle>
            <a:lvl1pPr marL="0" indent="0">
              <a:buNone/>
              <a:defRPr sz="1000" b="0" i="0">
                <a:solidFill>
                  <a:schemeClr val="tx2"/>
                </a:solidFill>
                <a:latin typeface="+mn-lt"/>
              </a:defRPr>
            </a:lvl1pPr>
          </a:lstStyle>
          <a:p>
            <a:pPr lvl="0"/>
            <a:r>
              <a:rPr lang="en-GB" dirty="0"/>
              <a:t>Job title</a:t>
            </a:r>
            <a:endParaRPr lang="en-US" dirty="0"/>
          </a:p>
        </p:txBody>
      </p:sp>
      <p:sp>
        <p:nvSpPr>
          <p:cNvPr id="69" name="Picture Placeholder 12">
            <a:extLst>
              <a:ext uri="{FF2B5EF4-FFF2-40B4-BE49-F238E27FC236}">
                <a16:creationId xmlns:a16="http://schemas.microsoft.com/office/drawing/2014/main" id="{E5B87C2C-7F36-6D34-D014-54305471A5A7}"/>
              </a:ext>
            </a:extLst>
          </p:cNvPr>
          <p:cNvSpPr>
            <a:spLocks noGrp="1"/>
          </p:cNvSpPr>
          <p:nvPr>
            <p:ph type="pic" sz="quarter" idx="73" hasCustomPrompt="1"/>
          </p:nvPr>
        </p:nvSpPr>
        <p:spPr>
          <a:xfrm>
            <a:off x="9161070" y="5041264"/>
            <a:ext cx="766800" cy="766800"/>
          </a:xfrm>
          <a:prstGeom prst="ellipse">
            <a:avLst/>
          </a:prstGeom>
        </p:spPr>
        <p:txBody>
          <a:bodyPr anchor="ctr"/>
          <a:lstStyle>
            <a:lvl1pPr marL="0" indent="0" algn="ctr">
              <a:buNone/>
              <a:defRPr sz="800" b="0">
                <a:latin typeface="+mn-lt"/>
              </a:defRPr>
            </a:lvl1pPr>
          </a:lstStyle>
          <a:p>
            <a:r>
              <a:rPr lang="en-GB" dirty="0"/>
              <a:t>Picture</a:t>
            </a:r>
            <a:endParaRPr lang="en-US" dirty="0"/>
          </a:p>
        </p:txBody>
      </p:sp>
      <p:sp>
        <p:nvSpPr>
          <p:cNvPr id="70" name="SmartArt Placeholder 7">
            <a:extLst>
              <a:ext uri="{FF2B5EF4-FFF2-40B4-BE49-F238E27FC236}">
                <a16:creationId xmlns:a16="http://schemas.microsoft.com/office/drawing/2014/main" id="{162A8BA6-6F67-C4EB-3430-78F1A0EC0F06}"/>
              </a:ext>
            </a:extLst>
          </p:cNvPr>
          <p:cNvSpPr>
            <a:spLocks noGrp="1"/>
          </p:cNvSpPr>
          <p:nvPr>
            <p:ph type="dgm" sz="quarter" idx="74" hasCustomPrompt="1"/>
          </p:nvPr>
        </p:nvSpPr>
        <p:spPr>
          <a:xfrm>
            <a:off x="485523" y="1696224"/>
            <a:ext cx="2548800" cy="18000"/>
          </a:xfrm>
          <a:solidFill>
            <a:schemeClr val="tx2"/>
          </a:solidFill>
        </p:spPr>
        <p:txBody>
          <a:bodyPr/>
          <a:lstStyle>
            <a:lvl1pPr marL="0" indent="0">
              <a:buNone/>
              <a:defRPr sz="800"/>
            </a:lvl1pPr>
          </a:lstStyle>
          <a:p>
            <a:r>
              <a:rPr lang="en-US" dirty="0"/>
              <a:t> </a:t>
            </a:r>
          </a:p>
        </p:txBody>
      </p:sp>
      <p:sp>
        <p:nvSpPr>
          <p:cNvPr id="71" name="SmartArt Placeholder 7">
            <a:extLst>
              <a:ext uri="{FF2B5EF4-FFF2-40B4-BE49-F238E27FC236}">
                <a16:creationId xmlns:a16="http://schemas.microsoft.com/office/drawing/2014/main" id="{EC5DF0FE-64D1-AB19-CAF1-A390D6492B0D}"/>
              </a:ext>
            </a:extLst>
          </p:cNvPr>
          <p:cNvSpPr>
            <a:spLocks noGrp="1"/>
          </p:cNvSpPr>
          <p:nvPr>
            <p:ph type="dgm" sz="quarter" idx="75" hasCustomPrompt="1"/>
          </p:nvPr>
        </p:nvSpPr>
        <p:spPr>
          <a:xfrm>
            <a:off x="3377372" y="1696224"/>
            <a:ext cx="2548800" cy="18000"/>
          </a:xfrm>
          <a:solidFill>
            <a:schemeClr val="tx2"/>
          </a:solidFill>
        </p:spPr>
        <p:txBody>
          <a:bodyPr/>
          <a:lstStyle>
            <a:lvl1pPr marL="0" indent="0">
              <a:buNone/>
              <a:defRPr sz="800"/>
            </a:lvl1pPr>
          </a:lstStyle>
          <a:p>
            <a:r>
              <a:rPr lang="en-US" dirty="0"/>
              <a:t> </a:t>
            </a:r>
          </a:p>
        </p:txBody>
      </p:sp>
      <p:sp>
        <p:nvSpPr>
          <p:cNvPr id="72" name="SmartArt Placeholder 7">
            <a:extLst>
              <a:ext uri="{FF2B5EF4-FFF2-40B4-BE49-F238E27FC236}">
                <a16:creationId xmlns:a16="http://schemas.microsoft.com/office/drawing/2014/main" id="{60800279-F9E3-EDED-BB35-F73EEF52F830}"/>
              </a:ext>
            </a:extLst>
          </p:cNvPr>
          <p:cNvSpPr>
            <a:spLocks noGrp="1"/>
          </p:cNvSpPr>
          <p:nvPr>
            <p:ph type="dgm" sz="quarter" idx="76" hasCustomPrompt="1"/>
          </p:nvPr>
        </p:nvSpPr>
        <p:spPr>
          <a:xfrm>
            <a:off x="6269221" y="1696224"/>
            <a:ext cx="2548800" cy="18000"/>
          </a:xfrm>
          <a:solidFill>
            <a:schemeClr val="tx2"/>
          </a:solidFill>
        </p:spPr>
        <p:txBody>
          <a:bodyPr/>
          <a:lstStyle>
            <a:lvl1pPr marL="0" indent="0">
              <a:buNone/>
              <a:defRPr sz="800"/>
            </a:lvl1pPr>
          </a:lstStyle>
          <a:p>
            <a:r>
              <a:rPr lang="en-US" dirty="0"/>
              <a:t> </a:t>
            </a:r>
          </a:p>
        </p:txBody>
      </p:sp>
      <p:sp>
        <p:nvSpPr>
          <p:cNvPr id="73" name="SmartArt Placeholder 7">
            <a:extLst>
              <a:ext uri="{FF2B5EF4-FFF2-40B4-BE49-F238E27FC236}">
                <a16:creationId xmlns:a16="http://schemas.microsoft.com/office/drawing/2014/main" id="{1BF95AC1-33EC-C487-C489-B7A97BBB2925}"/>
              </a:ext>
            </a:extLst>
          </p:cNvPr>
          <p:cNvSpPr>
            <a:spLocks noGrp="1"/>
          </p:cNvSpPr>
          <p:nvPr>
            <p:ph type="dgm" sz="quarter" idx="77" hasCustomPrompt="1"/>
          </p:nvPr>
        </p:nvSpPr>
        <p:spPr>
          <a:xfrm>
            <a:off x="9161070" y="1696224"/>
            <a:ext cx="2548800" cy="18000"/>
          </a:xfrm>
          <a:solidFill>
            <a:schemeClr val="tx2"/>
          </a:solidFill>
        </p:spPr>
        <p:txBody>
          <a:bodyPr/>
          <a:lstStyle>
            <a:lvl1pPr marL="0" indent="0">
              <a:buNone/>
              <a:defRPr sz="800"/>
            </a:lvl1pPr>
          </a:lstStyle>
          <a:p>
            <a:r>
              <a:rPr lang="en-US" dirty="0"/>
              <a:t> </a:t>
            </a:r>
          </a:p>
        </p:txBody>
      </p:sp>
    </p:spTree>
    <p:extLst>
      <p:ext uri="{BB962C8B-B14F-4D97-AF65-F5344CB8AC3E}">
        <p14:creationId xmlns:p14="http://schemas.microsoft.com/office/powerpoint/2010/main" val="12957467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and Full Image">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4BA46848-8969-3428-7E66-3827EB17DC5A}"/>
              </a:ext>
            </a:extLst>
          </p:cNvPr>
          <p:cNvSpPr>
            <a:spLocks noGrp="1"/>
          </p:cNvSpPr>
          <p:nvPr>
            <p:ph type="body" sz="quarter" idx="13" hasCustomPrompt="1"/>
          </p:nvPr>
        </p:nvSpPr>
        <p:spPr>
          <a:xfrm>
            <a:off x="864959" y="4980757"/>
            <a:ext cx="3445104" cy="193899"/>
          </a:xfrm>
        </p:spPr>
        <p:txBody>
          <a:bodyPr>
            <a:spAutoFit/>
          </a:bodyPr>
          <a:lstStyle>
            <a:lvl1pPr marL="0" indent="0">
              <a:lnSpc>
                <a:spcPct val="90000"/>
              </a:lnSpc>
              <a:buNone/>
              <a:defRPr sz="1400" b="1" i="0">
                <a:solidFill>
                  <a:schemeClr val="tx2"/>
                </a:solidFill>
                <a:latin typeface="+mn-lt"/>
              </a:defRPr>
            </a:lvl1pPr>
          </a:lstStyle>
          <a:p>
            <a:pPr lvl="0"/>
            <a:r>
              <a:rPr lang="en-GB" dirty="0"/>
              <a:t>Name</a:t>
            </a:r>
            <a:endParaRPr lang="en-US" dirty="0"/>
          </a:p>
        </p:txBody>
      </p:sp>
      <p:sp>
        <p:nvSpPr>
          <p:cNvPr id="8" name="Text Placeholder 9">
            <a:extLst>
              <a:ext uri="{FF2B5EF4-FFF2-40B4-BE49-F238E27FC236}">
                <a16:creationId xmlns:a16="http://schemas.microsoft.com/office/drawing/2014/main" id="{78B5CC24-699C-7858-0807-40619F0D533F}"/>
              </a:ext>
            </a:extLst>
          </p:cNvPr>
          <p:cNvSpPr>
            <a:spLocks noGrp="1"/>
          </p:cNvSpPr>
          <p:nvPr>
            <p:ph type="body" sz="quarter" idx="14" hasCustomPrompt="1"/>
          </p:nvPr>
        </p:nvSpPr>
        <p:spPr>
          <a:xfrm>
            <a:off x="864961" y="5184857"/>
            <a:ext cx="3445104" cy="153888"/>
          </a:xfrm>
        </p:spPr>
        <p:txBody>
          <a:bodyPr wrap="square">
            <a:spAutoFit/>
          </a:bodyPr>
          <a:lstStyle>
            <a:lvl1pPr marL="0" indent="0">
              <a:buNone/>
              <a:defRPr sz="1000" b="0" i="0">
                <a:solidFill>
                  <a:schemeClr val="bg1"/>
                </a:solidFill>
                <a:latin typeface="+mn-lt"/>
              </a:defRPr>
            </a:lvl1pPr>
          </a:lstStyle>
          <a:p>
            <a:pPr lvl="0"/>
            <a:r>
              <a:rPr lang="en-GB" dirty="0"/>
              <a:t>Job title</a:t>
            </a:r>
            <a:endParaRPr lang="en-US" dirty="0"/>
          </a:p>
        </p:txBody>
      </p:sp>
      <p:sp>
        <p:nvSpPr>
          <p:cNvPr id="4" name="Text Placeholder 23">
            <a:extLst>
              <a:ext uri="{FF2B5EF4-FFF2-40B4-BE49-F238E27FC236}">
                <a16:creationId xmlns:a16="http://schemas.microsoft.com/office/drawing/2014/main" id="{E82A0447-0820-5F05-7D32-3BE15F194869}"/>
              </a:ext>
              <a:ext uri="{C183D7F6-B498-43B3-948B-1728B52AA6E4}">
                <adec:decorative xmlns:adec="http://schemas.microsoft.com/office/drawing/2017/decorative" val="0"/>
              </a:ext>
            </a:extLst>
          </p:cNvPr>
          <p:cNvSpPr>
            <a:spLocks noGrp="1"/>
          </p:cNvSpPr>
          <p:nvPr>
            <p:ph type="body" sz="quarter" idx="26" hasCustomPrompt="1"/>
          </p:nvPr>
        </p:nvSpPr>
        <p:spPr>
          <a:xfrm>
            <a:off x="772884" y="358916"/>
            <a:ext cx="2023892" cy="1419083"/>
          </a:xfrm>
        </p:spPr>
        <p:txBody>
          <a:bodyPr anchor="t"/>
          <a:lstStyle>
            <a:lvl1pPr marL="0" indent="0">
              <a:spcBef>
                <a:spcPts val="0"/>
              </a:spcBef>
              <a:spcAft>
                <a:spcPts val="0"/>
              </a:spcAft>
              <a:buNone/>
              <a:defRPr sz="19200" b="0" i="0">
                <a:solidFill>
                  <a:schemeClr val="tx2"/>
                </a:solidFill>
                <a:latin typeface="Georgia Pro" panose="02040502050405020303" pitchFamily="18" charset="0"/>
              </a:defRPr>
            </a:lvl1pPr>
          </a:lstStyle>
          <a:p>
            <a:pPr lvl="0"/>
            <a:r>
              <a:rPr lang="en-GB" dirty="0"/>
              <a:t>“</a:t>
            </a:r>
          </a:p>
        </p:txBody>
      </p:sp>
      <p:sp>
        <p:nvSpPr>
          <p:cNvPr id="5" name="Text Placeholder 23">
            <a:extLst>
              <a:ext uri="{FF2B5EF4-FFF2-40B4-BE49-F238E27FC236}">
                <a16:creationId xmlns:a16="http://schemas.microsoft.com/office/drawing/2014/main" id="{8A771E8A-8B2A-ED69-3AEC-E5AEDB16F0EE}"/>
              </a:ext>
              <a:ext uri="{C183D7F6-B498-43B3-948B-1728B52AA6E4}">
                <adec:decorative xmlns:adec="http://schemas.microsoft.com/office/drawing/2017/decorative" val="0"/>
              </a:ext>
            </a:extLst>
          </p:cNvPr>
          <p:cNvSpPr>
            <a:spLocks noGrp="1"/>
          </p:cNvSpPr>
          <p:nvPr>
            <p:ph type="body" sz="quarter" idx="25" hasCustomPrompt="1"/>
          </p:nvPr>
        </p:nvSpPr>
        <p:spPr>
          <a:xfrm>
            <a:off x="864959" y="1958113"/>
            <a:ext cx="7524979" cy="2721927"/>
          </a:xfrm>
        </p:spPr>
        <p:txBody>
          <a:bodyPr/>
          <a:lstStyle>
            <a:lvl1pPr marL="0" indent="0">
              <a:buNone/>
              <a:defRPr sz="4800" b="0" i="0">
                <a:latin typeface="Georgia Pro" panose="02040502050405020303" pitchFamily="18" charset="0"/>
              </a:defRPr>
            </a:lvl1pPr>
          </a:lstStyle>
          <a:p>
            <a:pPr lvl="0"/>
            <a:r>
              <a:rPr lang="en-GB" dirty="0"/>
              <a:t>Quote goes here.</a:t>
            </a:r>
          </a:p>
        </p:txBody>
      </p:sp>
    </p:spTree>
    <p:extLst>
      <p:ext uri="{BB962C8B-B14F-4D97-AF65-F5344CB8AC3E}">
        <p14:creationId xmlns:p14="http://schemas.microsoft.com/office/powerpoint/2010/main" val="309314276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04648CD8-B307-812B-5BD0-91AA365C73D1}"/>
              </a:ext>
            </a:extLst>
          </p:cNvPr>
          <p:cNvSpPr>
            <a:spLocks noGrp="1"/>
          </p:cNvSpPr>
          <p:nvPr>
            <p:ph type="media" sz="quarter" idx="13"/>
          </p:nvPr>
        </p:nvSpPr>
        <p:spPr>
          <a:xfrm>
            <a:off x="0" y="0"/>
            <a:ext cx="12192000" cy="6858000"/>
          </a:xfrm>
        </p:spPr>
        <p:txBody>
          <a:bodyPr/>
          <a:lstStyle/>
          <a:p>
            <a:r>
              <a:rPr lang="en-GB"/>
              <a:t>Click icon to add media</a:t>
            </a:r>
            <a:endParaRPr lang="en-US"/>
          </a:p>
        </p:txBody>
      </p:sp>
    </p:spTree>
    <p:extLst>
      <p:ext uri="{BB962C8B-B14F-4D97-AF65-F5344CB8AC3E}">
        <p14:creationId xmlns:p14="http://schemas.microsoft.com/office/powerpoint/2010/main" val="6446844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285796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ontent and Image">
    <p:spTree>
      <p:nvGrpSpPr>
        <p:cNvPr id="1" name=""/>
        <p:cNvGrpSpPr/>
        <p:nvPr/>
      </p:nvGrpSpPr>
      <p:grpSpPr>
        <a:xfrm>
          <a:off x="0" y="0"/>
          <a:ext cx="0" cy="0"/>
          <a:chOff x="0" y="0"/>
          <a:chExt cx="0" cy="0"/>
        </a:xfrm>
      </p:grpSpPr>
      <p:pic>
        <p:nvPicPr>
          <p:cNvPr id="6" name="Picture 5" descr="A bright yellow circle&#10;&#10;Description automatically generated with medium confidence">
            <a:extLst>
              <a:ext uri="{FF2B5EF4-FFF2-40B4-BE49-F238E27FC236}">
                <a16:creationId xmlns:a16="http://schemas.microsoft.com/office/drawing/2014/main" id="{0CE0EE1C-69FD-A2A1-0E47-EEBF86AA511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Tree>
    <p:extLst>
      <p:ext uri="{BB962C8B-B14F-4D97-AF65-F5344CB8AC3E}">
        <p14:creationId xmlns:p14="http://schemas.microsoft.com/office/powerpoint/2010/main" val="3633734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Frame Yellow">
    <p:bg>
      <p:bgPr>
        <a:solidFill>
          <a:schemeClr val="tx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D5BBB5A-0446-3C14-B12C-56A5730E1CC1}"/>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a:p>
          </p:txBody>
        </p:sp>
      </p:grpSp>
      <p:grpSp>
        <p:nvGrpSpPr>
          <p:cNvPr id="3" name="Group 2">
            <a:extLst>
              <a:ext uri="{FF2B5EF4-FFF2-40B4-BE49-F238E27FC236}">
                <a16:creationId xmlns:a16="http://schemas.microsoft.com/office/drawing/2014/main" id="{34EF81A0-CB40-42B3-5E1A-AA5D72BFB4D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F7C1D2CA-2DB1-76BC-DAFE-210631AEC288}"/>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13430863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b="0" i="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283" y="1137920"/>
            <a:ext cx="10975022" cy="4756150"/>
          </a:xfrm>
        </p:spPr>
        <p:txBody>
          <a:bodyPr/>
          <a:lstStyle>
            <a:lvl1pPr>
              <a:spcBef>
                <a:spcPts val="0"/>
              </a:spcBef>
              <a:spcAft>
                <a:spcPts val="300"/>
              </a:spcAft>
              <a:defRPr/>
            </a:lvl1pPr>
            <a:lvl2pPr>
              <a:spcBef>
                <a:spcPts val="0"/>
              </a:spcBef>
              <a:spcAft>
                <a:spcPts val="300"/>
              </a:spcAft>
              <a:defRPr/>
            </a:lvl2pPr>
            <a:lvl3pPr>
              <a:spcBef>
                <a:spcPts val="0"/>
              </a:spcBef>
              <a:spcAft>
                <a:spcPts val="300"/>
              </a:spcAft>
              <a:defRPr/>
            </a:lvl3pPr>
            <a:lvl4pPr>
              <a:spcBef>
                <a:spcPts val="0"/>
              </a:spcBef>
              <a:spcAft>
                <a:spcPts val="300"/>
              </a:spcAft>
              <a:defRPr/>
            </a:lvl4pPr>
            <a:lvl5pPr>
              <a:spcBef>
                <a:spcPts val="0"/>
              </a:spcBef>
              <a:spcAft>
                <a:spcPts val="300"/>
              </a:spcAft>
              <a:defRPr/>
            </a:lvl5pPr>
          </a:lstStyle>
          <a:p>
            <a:pPr lvl="0"/>
            <a:r>
              <a:rPr lang="en-IN"/>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6866698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a:spcBef>
                <a:spcPts val="1800"/>
              </a:spcBef>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8734839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11" name="Picture 10" descr="A blurry image of a colorful light&#10;&#10;Description automatically generated">
            <a:extLst>
              <a:ext uri="{FF2B5EF4-FFF2-40B4-BE49-F238E27FC236}">
                <a16:creationId xmlns:a16="http://schemas.microsoft.com/office/drawing/2014/main" id="{203F2EEF-FA23-7BF3-FA42-7AA6A8048FC9}"/>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3" name="Rectangle 2">
            <a:extLst>
              <a:ext uri="{FF2B5EF4-FFF2-40B4-BE49-F238E27FC236}">
                <a16:creationId xmlns:a16="http://schemas.microsoft.com/office/drawing/2014/main" id="{8BA2609B-5A46-8F19-B245-1EA93E5AD851}"/>
              </a:ext>
            </a:extLst>
          </p:cNvPr>
          <p:cNvSpPr/>
          <p:nvPr userDrawn="1"/>
        </p:nvSpPr>
        <p:spPr>
          <a:xfrm>
            <a:off x="0" y="1754659"/>
            <a:ext cx="12193200" cy="5103341"/>
          </a:xfrm>
          <a:prstGeom prst="rect">
            <a:avLst/>
          </a:prstGeom>
          <a:gradFill>
            <a:gsLst>
              <a:gs pos="0">
                <a:srgbClr val="000000">
                  <a:alpha val="0"/>
                </a:srgbClr>
              </a:gs>
              <a:gs pos="100000">
                <a:srgbClr val="000000">
                  <a:alpha val="85000"/>
                </a:srgbClr>
              </a:gs>
            </a:gsLst>
            <a:lin ang="5400000" scaled="1"/>
          </a:gradFill>
          <a:ln w="12700">
            <a:noFill/>
            <a:miter lim="800000"/>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US" sz="2000" err="1">
              <a:solidFill>
                <a:schemeClr val="tx1"/>
              </a:solidFill>
            </a:endParaRPr>
          </a:p>
        </p:txBody>
      </p:sp>
      <p:sp>
        <p:nvSpPr>
          <p:cNvPr id="2" name="Title">
            <a:extLst>
              <a:ext uri="{FF2B5EF4-FFF2-40B4-BE49-F238E27FC236}">
                <a16:creationId xmlns:a16="http://schemas.microsoft.com/office/drawing/2014/main" id="{E49EC5F5-14E0-4B05-29E6-E9A059AA1002}"/>
              </a:ext>
            </a:extLst>
          </p:cNvPr>
          <p:cNvSpPr>
            <a:spLocks noGrp="1"/>
          </p:cNvSpPr>
          <p:nvPr>
            <p:ph type="title"/>
          </p:nvPr>
        </p:nvSpPr>
        <p:spPr/>
        <p:txBody>
          <a:bodyPr/>
          <a:lstStyle/>
          <a:p>
            <a:r>
              <a:rPr lang="en-GB"/>
              <a:t>Click to edit Master title style</a:t>
            </a:r>
            <a:endParaRPr lang="en-US"/>
          </a:p>
        </p:txBody>
      </p:sp>
      <p:sp>
        <p:nvSpPr>
          <p:cNvPr id="14" name="Content Placeholder">
            <a:extLst>
              <a:ext uri="{FF2B5EF4-FFF2-40B4-BE49-F238E27FC236}">
                <a16:creationId xmlns:a16="http://schemas.microsoft.com/office/drawing/2014/main" id="{A5EED3AD-188C-E954-617B-9CB9E1BA8A14}"/>
              </a:ext>
            </a:extLst>
          </p:cNvPr>
          <p:cNvSpPr>
            <a:spLocks noGrp="1"/>
          </p:cNvSpPr>
          <p:nvPr>
            <p:ph sz="quarter" idx="16"/>
          </p:nvPr>
        </p:nvSpPr>
        <p:spPr>
          <a:xfrm>
            <a:off x="485521" y="1411287"/>
            <a:ext cx="11224800" cy="4638675"/>
          </a:xfrm>
        </p:spPr>
        <p:txBody>
          <a:bodyPr/>
          <a:lstStyle>
            <a:lvl1pPr marL="0" indent="0">
              <a:spcAft>
                <a:spcPts val="2400"/>
              </a:spcAft>
              <a:buNone/>
              <a:defRPr sz="2800" b="1">
                <a:latin typeface="EYInterstate" panose="02000503020000020004" pitchFamily="2" charset="0"/>
              </a:defRPr>
            </a:lvl1pPr>
            <a:lvl2pPr marL="403225" indent="-403225">
              <a:spcAft>
                <a:spcPts val="1200"/>
              </a:spcAft>
              <a:buFont typeface="+mj-lt"/>
              <a:buAutoNum type="alphaLcParenR"/>
              <a:defRPr sz="2400">
                <a:latin typeface="EYInterstate" panose="02000503020000020004" pitchFamily="2" charset="0"/>
              </a:defRPr>
            </a:lvl2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4" name="Logo">
            <a:extLst>
              <a:ext uri="{FF2B5EF4-FFF2-40B4-BE49-F238E27FC236}">
                <a16:creationId xmlns:a16="http://schemas.microsoft.com/office/drawing/2014/main" id="{31547B25-EC34-1439-CF5B-D461DD9743D4}"/>
              </a:ext>
            </a:extLst>
          </p:cNvPr>
          <p:cNvGrpSpPr/>
          <p:nvPr userDrawn="1"/>
        </p:nvGrpSpPr>
        <p:grpSpPr bwMode="black">
          <a:xfrm>
            <a:off x="11623900" y="6276977"/>
            <a:ext cx="346158" cy="355219"/>
            <a:chOff x="7110" y="4004"/>
            <a:chExt cx="191" cy="196"/>
          </a:xfrm>
        </p:grpSpPr>
        <p:sp>
          <p:nvSpPr>
            <p:cNvPr id="5" name="Freeform 5">
              <a:extLst>
                <a:ext uri="{FF2B5EF4-FFF2-40B4-BE49-F238E27FC236}">
                  <a16:creationId xmlns:a16="http://schemas.microsoft.com/office/drawing/2014/main" id="{719A29DA-FB51-2F9C-D8F2-D9F9327B9985}"/>
                </a:ext>
              </a:extLst>
            </p:cNvPr>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6" name="Freeform 6">
              <a:extLst>
                <a:ext uri="{FF2B5EF4-FFF2-40B4-BE49-F238E27FC236}">
                  <a16:creationId xmlns:a16="http://schemas.microsoft.com/office/drawing/2014/main" id="{DE8D475B-9642-4175-AF8D-08C93BE729CB}"/>
                </a:ext>
              </a:extLst>
            </p:cNvPr>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7" name="Freeform 7">
              <a:extLst>
                <a:ext uri="{FF2B5EF4-FFF2-40B4-BE49-F238E27FC236}">
                  <a16:creationId xmlns:a16="http://schemas.microsoft.com/office/drawing/2014/main" id="{C8AF9272-2537-AEAB-A278-2B4700C4CC3A}"/>
                </a:ext>
              </a:extLst>
            </p:cNvPr>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8" name="TextBox 7">
            <a:extLst>
              <a:ext uri="{FF2B5EF4-FFF2-40B4-BE49-F238E27FC236}">
                <a16:creationId xmlns:a16="http://schemas.microsoft.com/office/drawing/2014/main" id="{70E3BCDF-7EAC-06EF-9084-B2D8E97AA1B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FB0FF822-F68E-8F8D-34B1-AE86565B7FA7}"/>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a:solidFill>
                  <a:schemeClr val="bg1"/>
                </a:solidFill>
                <a:latin typeface="EYInterstate" panose="02000503020000020004" pitchFamily="2" charset="0"/>
                <a:cs typeface="Arial" pitchFamily="34" charset="0"/>
              </a:rPr>
              <a:t>Future Tax Leaders Program: EY Exempt Organization Tax Services</a:t>
            </a:r>
          </a:p>
        </p:txBody>
      </p:sp>
      <p:sp>
        <p:nvSpPr>
          <p:cNvPr id="10" name="Rectangle 9">
            <a:extLst>
              <a:ext uri="{FF2B5EF4-FFF2-40B4-BE49-F238E27FC236}">
                <a16:creationId xmlns:a16="http://schemas.microsoft.com/office/drawing/2014/main" id="{0C87A213-2D87-5CA4-04D4-EBD841F6E19F}"/>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a:solidFill>
                  <a:schemeClr val="bg1"/>
                </a:solidFill>
                <a:latin typeface="EYInterstate" panose="02000503020000020004" pitchFamily="2" charset="0"/>
                <a:cs typeface="Arial" pitchFamily="34" charset="0"/>
              </a:rPr>
              <a:t>March 2025</a:t>
            </a:r>
          </a:p>
        </p:txBody>
      </p:sp>
    </p:spTree>
    <p:extLst>
      <p:ext uri="{BB962C8B-B14F-4D97-AF65-F5344CB8AC3E}">
        <p14:creationId xmlns:p14="http://schemas.microsoft.com/office/powerpoint/2010/main" val="15326135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defRPr sz="2000" b="1">
                <a:solidFill>
                  <a:schemeClr val="tx2"/>
                </a:solidFill>
                <a:latin typeface="EYInterstate" panose="02000503020000020004" pitchFamily="2" charset="0"/>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a:defRPr sz="2000" b="1">
                <a:solidFill>
                  <a:schemeClr val="tx2"/>
                </a:solidFill>
                <a:latin typeface="EYInterstate" panose="02000503020000020004" pitchFamily="2" charset="0"/>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7375091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49EC5F5-14E0-4B05-29E6-E9A059AA1002}"/>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4" name="Content Placeholder 1">
            <a:extLst>
              <a:ext uri="{FF2B5EF4-FFF2-40B4-BE49-F238E27FC236}">
                <a16:creationId xmlns:a16="http://schemas.microsoft.com/office/drawing/2014/main" id="{A5EED3AD-188C-E954-617B-9CB9E1BA8A14}"/>
              </a:ext>
            </a:extLst>
          </p:cNvPr>
          <p:cNvSpPr>
            <a:spLocks noGrp="1"/>
          </p:cNvSpPr>
          <p:nvPr>
            <p:ph sz="quarter" idx="16"/>
          </p:nvPr>
        </p:nvSpPr>
        <p:spPr>
          <a:xfrm>
            <a:off x="485520" y="1411287"/>
            <a:ext cx="5356800" cy="4638675"/>
          </a:xfrm>
        </p:spPr>
        <p:txBody>
          <a:bodyPr/>
          <a:lstStyle>
            <a:lvl1pPr>
              <a:spcBef>
                <a:spcPts val="1800"/>
              </a:spcBef>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5" name="Content Placeholder 2">
            <a:extLst>
              <a:ext uri="{FF2B5EF4-FFF2-40B4-BE49-F238E27FC236}">
                <a16:creationId xmlns:a16="http://schemas.microsoft.com/office/drawing/2014/main" id="{C87884BD-C538-2E4C-E4FE-1C5F73563883}"/>
              </a:ext>
            </a:extLst>
          </p:cNvPr>
          <p:cNvSpPr>
            <a:spLocks noGrp="1"/>
          </p:cNvSpPr>
          <p:nvPr>
            <p:ph sz="quarter" idx="15"/>
          </p:nvPr>
        </p:nvSpPr>
        <p:spPr>
          <a:xfrm>
            <a:off x="6353069" y="1411287"/>
            <a:ext cx="5356800" cy="4638675"/>
          </a:xfrm>
        </p:spPr>
        <p:txBody>
          <a:bodyPr/>
          <a:lstStyle>
            <a:lvl1pPr>
              <a:spcBef>
                <a:spcPts val="1800"/>
              </a:spcBef>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60122884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2"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4312686"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8139851" y="1411287"/>
            <a:ext cx="3570017" cy="4638675"/>
          </a:xfrm>
        </p:spPr>
        <p:txBody>
          <a:bodyPr/>
          <a:lstStyle>
            <a:lvl1pPr>
              <a:spcBef>
                <a:spcPts val="1800"/>
              </a:spcBef>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32171576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4638675"/>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330382936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ight Conten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p:nvPr>
        </p:nvSpPr>
        <p:spPr>
          <a:xfrm>
            <a:off x="485523"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p:nvPr>
        </p:nvSpPr>
        <p:spPr>
          <a:xfrm>
            <a:off x="3377372"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p:nvPr>
        </p:nvSpPr>
        <p:spPr>
          <a:xfrm>
            <a:off x="6269221"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3" name="Title 2">
            <a:extLst>
              <a:ext uri="{FF2B5EF4-FFF2-40B4-BE49-F238E27FC236}">
                <a16:creationId xmlns:a16="http://schemas.microsoft.com/office/drawing/2014/main" id="{8EA961CD-5D51-5DAB-76F4-3F2524B3664B}"/>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
        <p:nvSpPr>
          <p:cNvPr id="15" name="Content Placeholder 3">
            <a:extLst>
              <a:ext uri="{FF2B5EF4-FFF2-40B4-BE49-F238E27FC236}">
                <a16:creationId xmlns:a16="http://schemas.microsoft.com/office/drawing/2014/main" id="{3A89EC53-4B4E-25EA-86D3-0A198384FA8D}"/>
              </a:ext>
            </a:extLst>
          </p:cNvPr>
          <p:cNvSpPr>
            <a:spLocks noGrp="1"/>
          </p:cNvSpPr>
          <p:nvPr>
            <p:ph idx="15"/>
          </p:nvPr>
        </p:nvSpPr>
        <p:spPr>
          <a:xfrm>
            <a:off x="9161070" y="1411287"/>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 name="Content Placeholder 1">
            <a:extLst>
              <a:ext uri="{FF2B5EF4-FFF2-40B4-BE49-F238E27FC236}">
                <a16:creationId xmlns:a16="http://schemas.microsoft.com/office/drawing/2014/main" id="{A0091EC5-9CD6-B52C-F192-1D28C197D5EB}"/>
              </a:ext>
            </a:extLst>
          </p:cNvPr>
          <p:cNvSpPr>
            <a:spLocks noGrp="1"/>
          </p:cNvSpPr>
          <p:nvPr>
            <p:ph idx="16"/>
          </p:nvPr>
        </p:nvSpPr>
        <p:spPr>
          <a:xfrm>
            <a:off x="48552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6" name="Content Placeholder 2">
            <a:extLst>
              <a:ext uri="{FF2B5EF4-FFF2-40B4-BE49-F238E27FC236}">
                <a16:creationId xmlns:a16="http://schemas.microsoft.com/office/drawing/2014/main" id="{BF5F74F9-864E-3DD7-6291-763A9D830F2E}"/>
              </a:ext>
            </a:extLst>
          </p:cNvPr>
          <p:cNvSpPr>
            <a:spLocks noGrp="1"/>
          </p:cNvSpPr>
          <p:nvPr>
            <p:ph idx="17"/>
          </p:nvPr>
        </p:nvSpPr>
        <p:spPr>
          <a:xfrm>
            <a:off x="3377373"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7" name="Content Placeholder 3">
            <a:extLst>
              <a:ext uri="{FF2B5EF4-FFF2-40B4-BE49-F238E27FC236}">
                <a16:creationId xmlns:a16="http://schemas.microsoft.com/office/drawing/2014/main" id="{4EC6B6C9-6D62-F36C-8404-9E032EF106E3}"/>
              </a:ext>
            </a:extLst>
          </p:cNvPr>
          <p:cNvSpPr>
            <a:spLocks noGrp="1"/>
          </p:cNvSpPr>
          <p:nvPr>
            <p:ph idx="18"/>
          </p:nvPr>
        </p:nvSpPr>
        <p:spPr>
          <a:xfrm>
            <a:off x="6269221"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8" name="Content Placeholder 3">
            <a:extLst>
              <a:ext uri="{FF2B5EF4-FFF2-40B4-BE49-F238E27FC236}">
                <a16:creationId xmlns:a16="http://schemas.microsoft.com/office/drawing/2014/main" id="{D7F9E8A1-A5A0-CC6C-3FD8-D24AC966E14B}"/>
              </a:ext>
            </a:extLst>
          </p:cNvPr>
          <p:cNvSpPr>
            <a:spLocks noGrp="1"/>
          </p:cNvSpPr>
          <p:nvPr>
            <p:ph idx="19"/>
          </p:nvPr>
        </p:nvSpPr>
        <p:spPr>
          <a:xfrm>
            <a:off x="9161070" y="3830636"/>
            <a:ext cx="2548800" cy="2219326"/>
          </a:xfrm>
        </p:spPr>
        <p:txBody>
          <a:bodyPr/>
          <a:lstStyle>
            <a:lvl1pPr>
              <a:defRPr lang="en-GB" dirty="0"/>
            </a:lvl1pPr>
            <a:lvl2pPr>
              <a:defRPr lang="en-GB" dirty="0"/>
            </a:lvl2pPr>
            <a:lvl3pPr>
              <a:defRPr lang="en-GB" dirty="0"/>
            </a:lvl3pPr>
            <a:lvl4pPr>
              <a:defRPr lang="en-GB" dirty="0"/>
            </a:lvl4pPr>
            <a:lvl5pPr>
              <a:defRPr lang="en-US" dirty="0"/>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54171148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hree Content with Highlight">
    <p:spTree>
      <p:nvGrpSpPr>
        <p:cNvPr id="1" name=""/>
        <p:cNvGrpSpPr/>
        <p:nvPr/>
      </p:nvGrpSpPr>
      <p:grpSpPr>
        <a:xfrm>
          <a:off x="0" y="0"/>
          <a:ext cx="0" cy="0"/>
          <a:chOff x="0" y="0"/>
          <a:chExt cx="0" cy="0"/>
        </a:xfrm>
      </p:grpSpPr>
      <p:sp>
        <p:nvSpPr>
          <p:cNvPr id="7" name="Content Placeholder 1">
            <a:extLst>
              <a:ext uri="{FF2B5EF4-FFF2-40B4-BE49-F238E27FC236}">
                <a16:creationId xmlns:a16="http://schemas.microsoft.com/office/drawing/2014/main" id="{99DD3D67-FDA7-A413-313B-AF74B5AA9F16}"/>
              </a:ext>
            </a:extLst>
          </p:cNvPr>
          <p:cNvSpPr>
            <a:spLocks noGrp="1"/>
          </p:cNvSpPr>
          <p:nvPr>
            <p:ph idx="1" hasCustomPrompt="1"/>
          </p:nvPr>
        </p:nvSpPr>
        <p:spPr>
          <a:xfrm>
            <a:off x="485521"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a:t>Only one highlight line should appear. Delete the other two lines.</a:t>
            </a:r>
          </a:p>
          <a:p>
            <a:pPr lvl="1"/>
            <a:r>
              <a:rPr lang="en-GB"/>
              <a:t>Second level</a:t>
            </a:r>
          </a:p>
          <a:p>
            <a:pPr lvl="2"/>
            <a:r>
              <a:rPr lang="en-GB"/>
              <a:t>Third level</a:t>
            </a:r>
          </a:p>
          <a:p>
            <a:pPr lvl="3"/>
            <a:r>
              <a:rPr lang="en-GB"/>
              <a:t>Fourth level</a:t>
            </a:r>
          </a:p>
          <a:p>
            <a:pPr lvl="4"/>
            <a:r>
              <a:rPr lang="en-GB"/>
              <a:t>Fifth level</a:t>
            </a:r>
            <a:endParaRPr lang="en-US"/>
          </a:p>
        </p:txBody>
      </p:sp>
      <p:sp>
        <p:nvSpPr>
          <p:cNvPr id="12" name="Content Placeholder 2">
            <a:extLst>
              <a:ext uri="{FF2B5EF4-FFF2-40B4-BE49-F238E27FC236}">
                <a16:creationId xmlns:a16="http://schemas.microsoft.com/office/drawing/2014/main" id="{8FDAD40B-6BF1-FD89-F7E7-683D2B6F74A7}"/>
              </a:ext>
            </a:extLst>
          </p:cNvPr>
          <p:cNvSpPr>
            <a:spLocks noGrp="1"/>
          </p:cNvSpPr>
          <p:nvPr>
            <p:ph idx="13" hasCustomPrompt="1"/>
          </p:nvPr>
        </p:nvSpPr>
        <p:spPr>
          <a:xfrm>
            <a:off x="4312096"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a:t>Only one highlight line should appear. Delete the other two lines.</a:t>
            </a:r>
          </a:p>
          <a:p>
            <a:pPr lvl="1"/>
            <a:r>
              <a:rPr lang="en-GB"/>
              <a:t>Second level</a:t>
            </a:r>
          </a:p>
          <a:p>
            <a:pPr lvl="2"/>
            <a:r>
              <a:rPr lang="en-GB"/>
              <a:t>Third level</a:t>
            </a:r>
          </a:p>
          <a:p>
            <a:pPr lvl="3"/>
            <a:r>
              <a:rPr lang="en-GB"/>
              <a:t>Fourth level</a:t>
            </a:r>
          </a:p>
          <a:p>
            <a:pPr lvl="4"/>
            <a:r>
              <a:rPr lang="en-GB"/>
              <a:t>Fifth level</a:t>
            </a:r>
            <a:endParaRPr lang="en-US"/>
          </a:p>
        </p:txBody>
      </p:sp>
      <p:sp>
        <p:nvSpPr>
          <p:cNvPr id="13" name="Content Placeholder 3">
            <a:extLst>
              <a:ext uri="{FF2B5EF4-FFF2-40B4-BE49-F238E27FC236}">
                <a16:creationId xmlns:a16="http://schemas.microsoft.com/office/drawing/2014/main" id="{6A69E41B-F39E-4366-2ADE-0A30A6B7B882}"/>
              </a:ext>
            </a:extLst>
          </p:cNvPr>
          <p:cNvSpPr>
            <a:spLocks noGrp="1"/>
          </p:cNvSpPr>
          <p:nvPr>
            <p:ph idx="14" hasCustomPrompt="1"/>
          </p:nvPr>
        </p:nvSpPr>
        <p:spPr>
          <a:xfrm>
            <a:off x="8138670" y="1411287"/>
            <a:ext cx="3571200" cy="4638675"/>
          </a:xfrm>
          <a:solidFill>
            <a:schemeClr val="bg2">
              <a:alpha val="60000"/>
            </a:schemeClr>
          </a:solidFill>
        </p:spPr>
        <p:txBody>
          <a:bodyPr lIns="251999" tIns="180000" rIns="251999" bIns="180000"/>
          <a:lstStyle>
            <a:lvl1pPr>
              <a:defRPr lang="en-GB" dirty="0"/>
            </a:lvl1pPr>
            <a:lvl2pPr>
              <a:defRPr lang="en-GB" dirty="0"/>
            </a:lvl2pPr>
            <a:lvl3pPr>
              <a:defRPr lang="en-GB" dirty="0"/>
            </a:lvl3pPr>
            <a:lvl4pPr>
              <a:defRPr lang="en-GB" dirty="0"/>
            </a:lvl4pPr>
            <a:lvl5pPr>
              <a:defRPr lang="en-US" dirty="0"/>
            </a:lvl5pPr>
          </a:lstStyle>
          <a:p>
            <a:pPr marL="252000" marR="0" lvl="0" indent="-252000" algn="l" defTabSz="914400" rtl="0" eaLnBrk="1" fontAlgn="auto" latinLnBrk="0" hangingPunct="1">
              <a:lnSpc>
                <a:spcPct val="100000"/>
              </a:lnSpc>
              <a:spcBef>
                <a:spcPts val="400"/>
              </a:spcBef>
              <a:spcAft>
                <a:spcPts val="400"/>
              </a:spcAft>
              <a:buClr>
                <a:schemeClr val="tx2"/>
              </a:buClr>
              <a:buSzPct val="100000"/>
              <a:buFont typeface="Wingdings" pitchFamily="2" charset="2"/>
              <a:buChar char="§"/>
              <a:tabLst/>
              <a:defRPr/>
            </a:pPr>
            <a:r>
              <a:rPr lang="en-GB"/>
              <a:t>Only one highlight line should appear. Delete the other two lines.</a:t>
            </a:r>
          </a:p>
          <a:p>
            <a:pPr lvl="1"/>
            <a:r>
              <a:rPr lang="en-GB"/>
              <a:t>Second level</a:t>
            </a:r>
          </a:p>
          <a:p>
            <a:pPr lvl="2"/>
            <a:r>
              <a:rPr lang="en-GB"/>
              <a:t>Third level</a:t>
            </a:r>
          </a:p>
          <a:p>
            <a:pPr lvl="3"/>
            <a:r>
              <a:rPr lang="en-GB"/>
              <a:t>Fourth level</a:t>
            </a:r>
          </a:p>
          <a:p>
            <a:pPr lvl="4"/>
            <a:r>
              <a:rPr lang="en-GB"/>
              <a:t>Fifth level</a:t>
            </a:r>
            <a:endParaRPr lang="en-US"/>
          </a:p>
        </p:txBody>
      </p:sp>
      <p:sp>
        <p:nvSpPr>
          <p:cNvPr id="8" name="Highlight line 1">
            <a:extLst>
              <a:ext uri="{FF2B5EF4-FFF2-40B4-BE49-F238E27FC236}">
                <a16:creationId xmlns:a16="http://schemas.microsoft.com/office/drawing/2014/main" id="{E1FBA9F5-4E1E-7157-650F-920396E6BD16}"/>
              </a:ext>
            </a:extLst>
          </p:cNvPr>
          <p:cNvSpPr>
            <a:spLocks noGrp="1"/>
          </p:cNvSpPr>
          <p:nvPr>
            <p:ph type="dgm" sz="quarter" idx="15" hasCustomPrompt="1"/>
          </p:nvPr>
        </p:nvSpPr>
        <p:spPr>
          <a:xfrm>
            <a:off x="485775" y="1411287"/>
            <a:ext cx="3571200" cy="36000"/>
          </a:xfrm>
          <a:solidFill>
            <a:schemeClr val="tx2"/>
          </a:solidFill>
        </p:spPr>
        <p:txBody>
          <a:bodyPr/>
          <a:lstStyle>
            <a:lvl1pPr marL="0" indent="0">
              <a:buNone/>
              <a:defRPr sz="800"/>
            </a:lvl1pPr>
          </a:lstStyle>
          <a:p>
            <a:r>
              <a:rPr lang="en-US"/>
              <a:t> </a:t>
            </a:r>
          </a:p>
        </p:txBody>
      </p:sp>
      <p:sp>
        <p:nvSpPr>
          <p:cNvPr id="9" name="Highlight line 2">
            <a:extLst>
              <a:ext uri="{FF2B5EF4-FFF2-40B4-BE49-F238E27FC236}">
                <a16:creationId xmlns:a16="http://schemas.microsoft.com/office/drawing/2014/main" id="{F0D5216F-CE4B-8B47-FCA1-EA9B01BBAD6B}"/>
              </a:ext>
            </a:extLst>
          </p:cNvPr>
          <p:cNvSpPr>
            <a:spLocks noGrp="1"/>
          </p:cNvSpPr>
          <p:nvPr>
            <p:ph type="dgm" sz="quarter" idx="16" hasCustomPrompt="1"/>
          </p:nvPr>
        </p:nvSpPr>
        <p:spPr>
          <a:xfrm>
            <a:off x="4312096" y="1411287"/>
            <a:ext cx="3571200" cy="36000"/>
          </a:xfrm>
          <a:solidFill>
            <a:schemeClr val="tx2"/>
          </a:solidFill>
        </p:spPr>
        <p:txBody>
          <a:bodyPr/>
          <a:lstStyle>
            <a:lvl1pPr marL="0" indent="0">
              <a:buNone/>
              <a:defRPr sz="800"/>
            </a:lvl1pPr>
          </a:lstStyle>
          <a:p>
            <a:r>
              <a:rPr lang="en-US"/>
              <a:t> </a:t>
            </a:r>
          </a:p>
        </p:txBody>
      </p:sp>
      <p:sp>
        <p:nvSpPr>
          <p:cNvPr id="10" name="Highlight line 3">
            <a:extLst>
              <a:ext uri="{FF2B5EF4-FFF2-40B4-BE49-F238E27FC236}">
                <a16:creationId xmlns:a16="http://schemas.microsoft.com/office/drawing/2014/main" id="{945CF969-2B44-5C5F-B1A2-132B74FE4B46}"/>
              </a:ext>
            </a:extLst>
          </p:cNvPr>
          <p:cNvSpPr>
            <a:spLocks noGrp="1"/>
          </p:cNvSpPr>
          <p:nvPr>
            <p:ph type="dgm" sz="quarter" idx="17" hasCustomPrompt="1"/>
          </p:nvPr>
        </p:nvSpPr>
        <p:spPr>
          <a:xfrm>
            <a:off x="8138670" y="1411287"/>
            <a:ext cx="3571200" cy="36000"/>
          </a:xfrm>
          <a:solidFill>
            <a:schemeClr val="tx2"/>
          </a:solidFill>
        </p:spPr>
        <p:txBody>
          <a:bodyPr/>
          <a:lstStyle>
            <a:lvl1pPr marL="0" indent="0">
              <a:buNone/>
              <a:defRPr sz="800"/>
            </a:lvl1pPr>
          </a:lstStyle>
          <a:p>
            <a:r>
              <a:rPr lang="en-US"/>
              <a:t> </a:t>
            </a:r>
          </a:p>
        </p:txBody>
      </p:sp>
      <p:sp>
        <p:nvSpPr>
          <p:cNvPr id="3" name="Title 2">
            <a:extLst>
              <a:ext uri="{FF2B5EF4-FFF2-40B4-BE49-F238E27FC236}">
                <a16:creationId xmlns:a16="http://schemas.microsoft.com/office/drawing/2014/main" id="{861D1C9E-8438-3A10-53E8-497704D4A0E4}"/>
              </a:ext>
            </a:extLst>
          </p:cNvPr>
          <p:cNvSpPr>
            <a:spLocks noGrp="1"/>
          </p:cNvSpPr>
          <p:nvPr>
            <p:ph type="title"/>
          </p:nvPr>
        </p:nvSpPr>
        <p:spPr>
          <a:xfrm>
            <a:off x="485523" y="382588"/>
            <a:ext cx="11224347" cy="638175"/>
          </a:xfrm>
        </p:spPr>
        <p:txBody>
          <a:bodyPr/>
          <a:lstStyle/>
          <a:p>
            <a:r>
              <a:rPr lang="en-GB"/>
              <a:t>Click to edit Master title style</a:t>
            </a:r>
            <a:endParaRPr lang="en-US"/>
          </a:p>
        </p:txBody>
      </p:sp>
    </p:spTree>
    <p:extLst>
      <p:ext uri="{BB962C8B-B14F-4D97-AF65-F5344CB8AC3E}">
        <p14:creationId xmlns:p14="http://schemas.microsoft.com/office/powerpoint/2010/main" val="6764080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8AE523-7B3C-8783-DFC0-18E1AA2D887A}"/>
              </a:ext>
            </a:extLst>
          </p:cNvPr>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40692907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Frame Wri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6FA399-654A-7130-1FF0-0F0197A98C2A}"/>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a:p>
          </p:txBody>
        </p:sp>
      </p:grpSp>
      <p:sp>
        <p:nvSpPr>
          <p:cNvPr id="11"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38649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12" name="Title 4">
            <a:extLst>
              <a:ext uri="{FF2B5EF4-FFF2-40B4-BE49-F238E27FC236}">
                <a16:creationId xmlns:a16="http://schemas.microsoft.com/office/drawing/2014/main" id="{1F7B1FDC-B90E-6693-A750-B9BA4B535E8A}"/>
              </a:ext>
            </a:extLst>
          </p:cNvPr>
          <p:cNvSpPr>
            <a:spLocks noGrp="1"/>
          </p:cNvSpPr>
          <p:nvPr>
            <p:ph type="title"/>
          </p:nvPr>
        </p:nvSpPr>
        <p:spPr>
          <a:xfrm>
            <a:off x="889762" y="21272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13"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44759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CB01B256-70C6-9663-9CC6-1F22ADBAE7C3}"/>
              </a:ext>
            </a:extLst>
          </p:cNvPr>
          <p:cNvGrpSpPr/>
          <p:nvPr userDrawn="1"/>
        </p:nvGrpSpPr>
        <p:grpSpPr>
          <a:xfrm>
            <a:off x="485774" y="719508"/>
            <a:ext cx="5706110" cy="4360545"/>
            <a:chOff x="485774" y="719508"/>
            <a:chExt cx="5706110" cy="4360545"/>
          </a:xfrm>
        </p:grpSpPr>
        <p:sp>
          <p:nvSpPr>
            <p:cNvPr id="10" name="Freeform 25">
              <a:extLst>
                <a:ext uri="{FF2B5EF4-FFF2-40B4-BE49-F238E27FC236}">
                  <a16:creationId xmlns:a16="http://schemas.microsoft.com/office/drawing/2014/main" id="{F7E50E80-DFF0-E065-898F-1AFD970459B6}"/>
                </a:ext>
              </a:extLst>
            </p:cNvPr>
            <p:cNvSpPr/>
            <p:nvPr userDrawn="1"/>
          </p:nvSpPr>
          <p:spPr>
            <a:xfrm>
              <a:off x="485774" y="49784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14" name="Freeform 3">
              <a:extLst>
                <a:ext uri="{FF2B5EF4-FFF2-40B4-BE49-F238E27FC236}">
                  <a16:creationId xmlns:a16="http://schemas.microsoft.com/office/drawing/2014/main" id="{7E9D0337-F340-664F-6A13-B03AA4BA4F82}"/>
                </a:ext>
              </a:extLst>
            </p:cNvPr>
            <p:cNvSpPr/>
            <p:nvPr userDrawn="1"/>
          </p:nvSpPr>
          <p:spPr>
            <a:xfrm>
              <a:off x="485775" y="7195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solidFill>
              <a:schemeClr val="tx2"/>
            </a:solidFill>
            <a:ln w="8181" cap="flat">
              <a:noFill/>
              <a:prstDash val="solid"/>
              <a:miter/>
            </a:ln>
          </p:spPr>
          <p:txBody>
            <a:bodyPr rtlCol="0" anchor="ctr"/>
            <a:lstStyle/>
            <a:p>
              <a:pPr lvl="0"/>
              <a:endParaRPr lang="en-US"/>
            </a:p>
          </p:txBody>
        </p:sp>
      </p:grpSp>
      <p:sp>
        <p:nvSpPr>
          <p:cNvPr id="15" name="TextBox 14">
            <a:extLst>
              <a:ext uri="{FF2B5EF4-FFF2-40B4-BE49-F238E27FC236}">
                <a16:creationId xmlns:a16="http://schemas.microsoft.com/office/drawing/2014/main" id="{EEB2775D-C14D-1FFE-E3E9-4E62DDA32301}"/>
              </a:ext>
            </a:extLst>
          </p:cNvPr>
          <p:cNvSpPr txBox="1"/>
          <p:nvPr userDrawn="1"/>
        </p:nvSpPr>
        <p:spPr>
          <a:xfrm>
            <a:off x="461984" y="5552404"/>
            <a:ext cx="1045073" cy="197581"/>
          </a:xfrm>
          <a:prstGeom prst="rect">
            <a:avLst/>
          </a:prstGeom>
          <a:noFill/>
        </p:spPr>
        <p:txBody>
          <a:bodyPr wrap="square" lIns="0" tIns="0" rIns="0" bIns="0" rtlCol="0" anchor="ctr" anchorCtr="0">
            <a:noAutofit/>
          </a:bodyPr>
          <a:lstStyle/>
          <a:p>
            <a:r>
              <a:rPr lang="en-GB" sz="1200" dirty="0">
                <a:solidFill>
                  <a:schemeClr val="bg1"/>
                </a:solidFill>
                <a:latin typeface="EYInterstate Light" panose="02000506000000020004" pitchFamily="2" charset="0"/>
              </a:rPr>
              <a:t>Written by</a:t>
            </a:r>
          </a:p>
        </p:txBody>
      </p:sp>
      <p:sp>
        <p:nvSpPr>
          <p:cNvPr id="16" name="Text Placeholder 16">
            <a:extLst>
              <a:ext uri="{FF2B5EF4-FFF2-40B4-BE49-F238E27FC236}">
                <a16:creationId xmlns:a16="http://schemas.microsoft.com/office/drawing/2014/main" id="{FAE2F50B-78AF-04F3-4BFF-980630AF7AFF}"/>
              </a:ext>
            </a:extLst>
          </p:cNvPr>
          <p:cNvSpPr>
            <a:spLocks noGrp="1"/>
          </p:cNvSpPr>
          <p:nvPr>
            <p:ph type="body" sz="quarter" idx="14" hasCustomPrompt="1"/>
          </p:nvPr>
        </p:nvSpPr>
        <p:spPr>
          <a:xfrm>
            <a:off x="1333184" y="5966393"/>
            <a:ext cx="3089275" cy="180000"/>
          </a:xfrm>
        </p:spPr>
        <p:txBody>
          <a:bodyPr/>
          <a:lstStyle>
            <a:lvl1pPr marL="0" indent="0">
              <a:buNone/>
              <a:defRPr sz="1200">
                <a:solidFill>
                  <a:schemeClr val="tx2"/>
                </a:solidFill>
              </a:defRPr>
            </a:lvl1pPr>
          </a:lstStyle>
          <a:p>
            <a:pPr lvl="0"/>
            <a:r>
              <a:rPr lang="en-US" dirty="0"/>
              <a:t>Name Surname</a:t>
            </a:r>
            <a:endParaRPr lang="en-GB" dirty="0"/>
          </a:p>
        </p:txBody>
      </p:sp>
      <p:sp>
        <p:nvSpPr>
          <p:cNvPr id="17" name="Text Placeholder 16">
            <a:extLst>
              <a:ext uri="{FF2B5EF4-FFF2-40B4-BE49-F238E27FC236}">
                <a16:creationId xmlns:a16="http://schemas.microsoft.com/office/drawing/2014/main" id="{A5473ED8-C1F4-379D-AE01-5E7A3D5F3401}"/>
              </a:ext>
            </a:extLst>
          </p:cNvPr>
          <p:cNvSpPr>
            <a:spLocks noGrp="1"/>
          </p:cNvSpPr>
          <p:nvPr>
            <p:ph type="body" sz="quarter" idx="15" hasCustomPrompt="1"/>
          </p:nvPr>
        </p:nvSpPr>
        <p:spPr>
          <a:xfrm>
            <a:off x="1333184" y="6164011"/>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8" name="Picture Placeholder 19">
            <a:extLst>
              <a:ext uri="{FF2B5EF4-FFF2-40B4-BE49-F238E27FC236}">
                <a16:creationId xmlns:a16="http://schemas.microsoft.com/office/drawing/2014/main" id="{812BC08D-D0F7-900D-1481-4C172F6BE56E}"/>
              </a:ext>
            </a:extLst>
          </p:cNvPr>
          <p:cNvSpPr>
            <a:spLocks noGrp="1"/>
          </p:cNvSpPr>
          <p:nvPr>
            <p:ph type="pic" sz="quarter" idx="16"/>
          </p:nvPr>
        </p:nvSpPr>
        <p:spPr>
          <a:xfrm>
            <a:off x="461983" y="5861846"/>
            <a:ext cx="576000" cy="576000"/>
          </a:xfrm>
          <a:prstGeom prst="ellipse">
            <a:avLst/>
          </a:prstGeom>
        </p:spPr>
        <p:txBody>
          <a:bodyPr anchor="ctr"/>
          <a:lstStyle>
            <a:lvl1pPr marL="0" indent="0" algn="ctr">
              <a:buNone/>
              <a:defRPr sz="900">
                <a:solidFill>
                  <a:schemeClr val="bg1"/>
                </a:solidFill>
              </a:defRPr>
            </a:lvl1pPr>
          </a:lstStyle>
          <a:p>
            <a:endParaRPr lang="en-GB" dirty="0"/>
          </a:p>
        </p:txBody>
      </p:sp>
      <p:cxnSp>
        <p:nvCxnSpPr>
          <p:cNvPr id="19" name="Straight Connector 18">
            <a:extLst>
              <a:ext uri="{FF2B5EF4-FFF2-40B4-BE49-F238E27FC236}">
                <a16:creationId xmlns:a16="http://schemas.microsoft.com/office/drawing/2014/main" id="{D25B130A-4E65-32BD-4CB8-C7E2B623FD74}"/>
              </a:ext>
            </a:extLst>
          </p:cNvPr>
          <p:cNvCxnSpPr>
            <a:cxnSpLocks/>
          </p:cNvCxnSpPr>
          <p:nvPr userDrawn="1"/>
        </p:nvCxnSpPr>
        <p:spPr>
          <a:xfrm>
            <a:off x="1333184" y="5656264"/>
            <a:ext cx="8122101" cy="0"/>
          </a:xfrm>
          <a:prstGeom prst="line">
            <a:avLst/>
          </a:prstGeom>
          <a:ln w="9525" cap="flat" cmpd="sng" algn="ctr">
            <a:solidFill>
              <a:srgbClr val="C4C4CD"/>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0926097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72567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Key Statement">
    <p:spTree>
      <p:nvGrpSpPr>
        <p:cNvPr id="1" name=""/>
        <p:cNvGrpSpPr/>
        <p:nvPr/>
      </p:nvGrpSpPr>
      <p:grpSpPr>
        <a:xfrm>
          <a:off x="0" y="0"/>
          <a:ext cx="0" cy="0"/>
          <a:chOff x="0" y="0"/>
          <a:chExt cx="0" cy="0"/>
        </a:xfrm>
      </p:grpSpPr>
      <p:pic>
        <p:nvPicPr>
          <p:cNvPr id="5" name="Picture 4" descr="A blurry image of a rainbow&#10;&#10;Description automatically generated">
            <a:extLst>
              <a:ext uri="{FF2B5EF4-FFF2-40B4-BE49-F238E27FC236}">
                <a16:creationId xmlns:a16="http://schemas.microsoft.com/office/drawing/2014/main" id="{B747E62E-6D0C-C7D5-3E8D-2701CDF6C784}"/>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p:nvPr>
        </p:nvSpPr>
        <p:spPr>
          <a:xfrm>
            <a:off x="485774" y="822959"/>
            <a:ext cx="8412480" cy="5029200"/>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a:solidFill>
                  <a:schemeClr val="bg1"/>
                </a:solidFill>
                <a:latin typeface="EYInterstate" panose="02000503020000020004" pitchFamily="2" charset="0"/>
                <a:cs typeface="Arial" pitchFamily="34" charset="0"/>
              </a:rPr>
              <a:t>Future Tax Leaders Program: EY Exempt Organization Tax Services</a:t>
            </a:r>
          </a:p>
        </p:txBody>
      </p:sp>
      <p:sp>
        <p:nvSpPr>
          <p:cNvPr id="3" name="TextBox 2">
            <a:extLst>
              <a:ext uri="{FF2B5EF4-FFF2-40B4-BE49-F238E27FC236}">
                <a16:creationId xmlns:a16="http://schemas.microsoft.com/office/drawing/2014/main" id="{848ED640-6F7E-A56C-04A4-A28E700C9D8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a:solidFill>
                  <a:schemeClr val="bg1"/>
                </a:solidFill>
                <a:latin typeface="EYInterstate" panose="02000503020000020004" pitchFamily="2" charset="0"/>
                <a:cs typeface="Arial" pitchFamily="34" charset="0"/>
              </a:rPr>
              <a:t>March 2025</a:t>
            </a:r>
          </a:p>
        </p:txBody>
      </p:sp>
    </p:spTree>
    <p:extLst>
      <p:ext uri="{BB962C8B-B14F-4D97-AF65-F5344CB8AC3E}">
        <p14:creationId xmlns:p14="http://schemas.microsoft.com/office/powerpoint/2010/main" val="31288391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Key Statement">
    <p:spTree>
      <p:nvGrpSpPr>
        <p:cNvPr id="1" name=""/>
        <p:cNvGrpSpPr/>
        <p:nvPr/>
      </p:nvGrpSpPr>
      <p:grpSpPr>
        <a:xfrm>
          <a:off x="0" y="0"/>
          <a:ext cx="0" cy="0"/>
          <a:chOff x="0" y="0"/>
          <a:chExt cx="0" cy="0"/>
        </a:xfrm>
      </p:grpSpPr>
      <p:pic>
        <p:nvPicPr>
          <p:cNvPr id="5" name="Picture 4" descr="A colorful light in the dark&#10;&#10;Description automatically generated">
            <a:extLst>
              <a:ext uri="{FF2B5EF4-FFF2-40B4-BE49-F238E27FC236}">
                <a16:creationId xmlns:a16="http://schemas.microsoft.com/office/drawing/2014/main" id="{373DA671-0971-16D6-EB10-36A79B280E62}"/>
              </a:ext>
            </a:extLst>
          </p:cNvPr>
          <p:cNvPicPr>
            <a:picLocks/>
          </p:cNvPicPr>
          <p:nvPr userDrawn="1"/>
        </p:nvPicPr>
        <p:blipFill>
          <a:blip r:embed="rId2">
            <a:extLst>
              <a:ext uri="{28A0092B-C50C-407E-A947-70E740481C1C}">
                <a14:useLocalDpi xmlns:a14="http://schemas.microsoft.com/office/drawing/2010/main"/>
              </a:ext>
            </a:extLst>
          </a:blip>
          <a:stretch>
            <a:fillRect/>
          </a:stretch>
        </p:blipFill>
        <p:spPr bwMode="hidden">
          <a:xfrm>
            <a:off x="0" y="0"/>
            <a:ext cx="12193200" cy="6858000"/>
          </a:xfrm>
          <a:prstGeom prst="rect">
            <a:avLst/>
          </a:prstGeom>
        </p:spPr>
      </p:pic>
      <p:sp>
        <p:nvSpPr>
          <p:cNvPr id="7" name="Text Placeholder 6">
            <a:extLst>
              <a:ext uri="{FF2B5EF4-FFF2-40B4-BE49-F238E27FC236}">
                <a16:creationId xmlns:a16="http://schemas.microsoft.com/office/drawing/2014/main" id="{B1F20FD9-346B-5423-9ECF-F0D4E362CCCE}"/>
              </a:ext>
            </a:extLst>
          </p:cNvPr>
          <p:cNvSpPr>
            <a:spLocks noGrp="1"/>
          </p:cNvSpPr>
          <p:nvPr>
            <p:ph type="body" sz="quarter" idx="13" hasCustomPrompt="1"/>
          </p:nvPr>
        </p:nvSpPr>
        <p:spPr>
          <a:xfrm>
            <a:off x="485774" y="822960"/>
            <a:ext cx="11218863" cy="4638675"/>
          </a:xfrm>
        </p:spPr>
        <p:txBody>
          <a:bodyPr/>
          <a:lstStyle>
            <a:lvl1pPr marL="0" indent="0">
              <a:lnSpc>
                <a:spcPct val="85000"/>
              </a:lnSpc>
              <a:buNone/>
              <a:defRPr sz="6600" b="1">
                <a:solidFill>
                  <a:schemeClr val="bg1"/>
                </a:solidFill>
                <a:latin typeface="EYInterstate" panose="02000503020000020004" pitchFamily="2" charset="0"/>
              </a:defRPr>
            </a:lvl1pPr>
            <a:lvl2pPr marL="0" indent="0">
              <a:spcBef>
                <a:spcPts val="2400"/>
              </a:spcBef>
              <a:buNone/>
              <a:defRPr sz="3600">
                <a:solidFill>
                  <a:schemeClr val="bg1"/>
                </a:solidFill>
                <a:latin typeface="EYInterstate" panose="02000503020000020004" pitchFamily="2" charset="0"/>
              </a:defRPr>
            </a:lvl2pPr>
            <a:lvl3pPr marL="0" indent="0">
              <a:spcBef>
                <a:spcPts val="2400"/>
              </a:spcBef>
              <a:buNone/>
              <a:defRPr sz="2400" b="1">
                <a:solidFill>
                  <a:schemeClr val="bg1"/>
                </a:solidFill>
                <a:latin typeface="EYInterstate" panose="02000503020000020004" pitchFamily="2" charset="0"/>
              </a:defRPr>
            </a:lvl3pPr>
            <a:lvl4pPr marL="0" indent="0">
              <a:buNone/>
              <a:defRPr>
                <a:solidFill>
                  <a:schemeClr val="bg1"/>
                </a:solidFill>
              </a:defRPr>
            </a:lvl4pPr>
            <a:lvl5pPr marL="0" indent="0">
              <a:buNone/>
              <a:defRPr>
                <a:solidFill>
                  <a:schemeClr val="bg1"/>
                </a:solidFill>
              </a:defRPr>
            </a:lvl5pPr>
          </a:lstStyle>
          <a:p>
            <a:pPr lvl="0"/>
            <a:r>
              <a:rPr lang="en-GB"/>
              <a:t>Title</a:t>
            </a:r>
          </a:p>
          <a:p>
            <a:pPr lvl="1"/>
            <a:r>
              <a:rPr lang="en-GB"/>
              <a:t>Second level</a:t>
            </a:r>
          </a:p>
          <a:p>
            <a:pPr lvl="2"/>
            <a:r>
              <a:rPr lang="en-GB"/>
              <a:t>Third level</a:t>
            </a:r>
          </a:p>
          <a:p>
            <a:pPr lvl="3"/>
            <a:r>
              <a:rPr lang="en-GB"/>
              <a:t>Fourth level</a:t>
            </a:r>
          </a:p>
          <a:p>
            <a:pPr lvl="4"/>
            <a:r>
              <a:rPr lang="en-GB"/>
              <a:t>Fifth level</a:t>
            </a:r>
            <a:endParaRPr lang="en-US"/>
          </a:p>
        </p:txBody>
      </p:sp>
      <p:grpSp>
        <p:nvGrpSpPr>
          <p:cNvPr id="8" name="Group 4">
            <a:extLst>
              <a:ext uri="{FF2B5EF4-FFF2-40B4-BE49-F238E27FC236}">
                <a16:creationId xmlns:a16="http://schemas.microsoft.com/office/drawing/2014/main" id="{05920F1D-0D06-535C-A00E-C9CA8D252741}"/>
              </a:ext>
            </a:extLst>
          </p:cNvPr>
          <p:cNvGrpSpPr>
            <a:grpSpLocks noChangeAspect="1"/>
          </p:cNvGrpSpPr>
          <p:nvPr userDrawn="1"/>
        </p:nvGrpSpPr>
        <p:grpSpPr bwMode="black">
          <a:xfrm>
            <a:off x="11623900" y="6276977"/>
            <a:ext cx="346158" cy="355219"/>
            <a:chOff x="7110" y="4004"/>
            <a:chExt cx="191" cy="196"/>
          </a:xfrm>
        </p:grpSpPr>
        <p:sp>
          <p:nvSpPr>
            <p:cNvPr id="9" name="Freeform 5">
              <a:extLst>
                <a:ext uri="{FF2B5EF4-FFF2-40B4-BE49-F238E27FC236}">
                  <a16:creationId xmlns:a16="http://schemas.microsoft.com/office/drawing/2014/main" id="{88A16D72-94EE-8CC0-084C-EB87F8781A1C}"/>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0" name="Freeform 6">
              <a:extLst>
                <a:ext uri="{FF2B5EF4-FFF2-40B4-BE49-F238E27FC236}">
                  <a16:creationId xmlns:a16="http://schemas.microsoft.com/office/drawing/2014/main" id="{E0BB2990-3047-821E-17D7-0DDDFF6CB30A}"/>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1" name="Freeform 7">
              <a:extLst>
                <a:ext uri="{FF2B5EF4-FFF2-40B4-BE49-F238E27FC236}">
                  <a16:creationId xmlns:a16="http://schemas.microsoft.com/office/drawing/2014/main" id="{D3AEE2A3-1722-B883-C7FC-01A81806B299}"/>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2" name="Rectangle 1">
            <a:extLst>
              <a:ext uri="{FF2B5EF4-FFF2-40B4-BE49-F238E27FC236}">
                <a16:creationId xmlns:a16="http://schemas.microsoft.com/office/drawing/2014/main" id="{5D827944-DDF3-7FD2-57E4-05AF26966453}"/>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a:solidFill>
                  <a:schemeClr val="bg1"/>
                </a:solidFill>
                <a:latin typeface="EYInterstate" panose="02000503020000020004" pitchFamily="2" charset="0"/>
                <a:cs typeface="Arial" pitchFamily="34" charset="0"/>
              </a:rPr>
              <a:t>Future Tax Leaders Program: EY Exempt Organization Tax Services</a:t>
            </a:r>
          </a:p>
        </p:txBody>
      </p:sp>
      <p:sp>
        <p:nvSpPr>
          <p:cNvPr id="3" name="TextBox 2">
            <a:extLst>
              <a:ext uri="{FF2B5EF4-FFF2-40B4-BE49-F238E27FC236}">
                <a16:creationId xmlns:a16="http://schemas.microsoft.com/office/drawing/2014/main" id="{848ED640-6F7E-A56C-04A4-A28E700C9D82}"/>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a:solidFill>
                <a:schemeClr val="bg1"/>
              </a:solidFill>
              <a:latin typeface="EYInterstate" panose="02000503020000020004" pitchFamily="2" charset="0"/>
            </a:endParaRPr>
          </a:p>
        </p:txBody>
      </p:sp>
      <p:sp>
        <p:nvSpPr>
          <p:cNvPr id="4" name="Rectangle 3">
            <a:extLst>
              <a:ext uri="{FF2B5EF4-FFF2-40B4-BE49-F238E27FC236}">
                <a16:creationId xmlns:a16="http://schemas.microsoft.com/office/drawing/2014/main" id="{2C9F66C3-CF87-16D1-8A50-AE78C468F85E}"/>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a:solidFill>
                  <a:schemeClr val="bg1"/>
                </a:solidFill>
                <a:latin typeface="EYInterstate" panose="02000503020000020004" pitchFamily="2" charset="0"/>
                <a:cs typeface="Arial" pitchFamily="34" charset="0"/>
              </a:rPr>
              <a:t>March 2025</a:t>
            </a:r>
          </a:p>
        </p:txBody>
      </p:sp>
    </p:spTree>
    <p:extLst>
      <p:ext uri="{BB962C8B-B14F-4D97-AF65-F5344CB8AC3E}">
        <p14:creationId xmlns:p14="http://schemas.microsoft.com/office/powerpoint/2010/main" val="36216336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userDrawn="1">
  <p:cSld name="1_Final legal text">
    <p:spTree>
      <p:nvGrpSpPr>
        <p:cNvPr id="1" name=""/>
        <p:cNvGrpSpPr/>
        <p:nvPr/>
      </p:nvGrpSpPr>
      <p:grpSpPr>
        <a:xfrm>
          <a:off x="0" y="0"/>
          <a:ext cx="0" cy="0"/>
          <a:chOff x="0" y="0"/>
          <a:chExt cx="0" cy="0"/>
        </a:xfrm>
      </p:grpSpPr>
      <p:pic>
        <p:nvPicPr>
          <p:cNvPr id="2" name="Picture 1" descr="A bright yellow circle&#10;&#10;Description automatically generated with medium confidence">
            <a:extLst>
              <a:ext uri="{FF2B5EF4-FFF2-40B4-BE49-F238E27FC236}">
                <a16:creationId xmlns:a16="http://schemas.microsoft.com/office/drawing/2014/main" id="{868BB597-21EC-43B9-FF18-B652D17F156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a:off x="0" y="0"/>
            <a:ext cx="12192000" cy="6858000"/>
          </a:xfrm>
          <a:prstGeom prst="rect">
            <a:avLst/>
          </a:prstGeom>
        </p:spPr>
      </p:pic>
    </p:spTree>
    <p:extLst>
      <p:ext uri="{BB962C8B-B14F-4D97-AF65-F5344CB8AC3E}">
        <p14:creationId xmlns:p14="http://schemas.microsoft.com/office/powerpoint/2010/main" val="3079559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9" b="0" i="0">
                <a:solidFill>
                  <a:schemeClr val="bg1"/>
                </a:solidFill>
              </a:defRPr>
            </a:lvl1pPr>
          </a:lstStyle>
          <a:p>
            <a:r>
              <a:rPr lang="en-US"/>
              <a:t>Standard slide</a:t>
            </a:r>
            <a:endParaRPr lang="en-GB"/>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Tree>
    <p:extLst>
      <p:ext uri="{BB962C8B-B14F-4D97-AF65-F5344CB8AC3E}">
        <p14:creationId xmlns:p14="http://schemas.microsoft.com/office/powerpoint/2010/main" val="354539723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9" b="0" i="0">
                <a:solidFill>
                  <a:schemeClr val="bg1"/>
                </a:solidFill>
              </a:defRPr>
            </a:lvl1pPr>
          </a:lstStyle>
          <a:p>
            <a:r>
              <a:rPr lang="en-US"/>
              <a:t>Click to edit Master title style</a:t>
            </a:r>
            <a:endParaRPr lang="en-GB"/>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1"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noProof="0">
              <a:solidFill>
                <a:schemeClr val="bg1"/>
              </a:solidFill>
            </a:endParaRPr>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283" y="1137920"/>
            <a:ext cx="10975022" cy="4756150"/>
          </a:xfrm>
        </p:spPr>
        <p:txBody>
          <a:bodyPr/>
          <a:lstStyle>
            <a:lvl1pPr>
              <a:spcBef>
                <a:spcPts val="0"/>
              </a:spcBef>
              <a:spcAft>
                <a:spcPts val="300"/>
              </a:spcAft>
              <a:defRPr/>
            </a:lvl1pPr>
            <a:lvl2pPr>
              <a:spcBef>
                <a:spcPts val="0"/>
              </a:spcBef>
              <a:spcAft>
                <a:spcPts val="300"/>
              </a:spcAft>
              <a:defRPr/>
            </a:lvl2pPr>
            <a:lvl3pPr>
              <a:spcBef>
                <a:spcPts val="0"/>
              </a:spcBef>
              <a:spcAft>
                <a:spcPts val="300"/>
              </a:spcAft>
              <a:defRPr/>
            </a:lvl3pPr>
            <a:lvl4pPr>
              <a:spcBef>
                <a:spcPts val="0"/>
              </a:spcBef>
              <a:spcAft>
                <a:spcPts val="300"/>
              </a:spcAft>
              <a:defRPr/>
            </a:lvl4pPr>
            <a:lvl5pPr>
              <a:spcBef>
                <a:spcPts val="0"/>
              </a:spcBef>
              <a:spcAft>
                <a:spcPts val="300"/>
              </a:spcAft>
              <a:defRPr/>
            </a:lvl5pPr>
          </a:lstStyle>
          <a:p>
            <a:pPr lvl="0"/>
            <a:r>
              <a:rPr lang="en-IN"/>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Tree>
    <p:extLst>
      <p:ext uri="{BB962C8B-B14F-4D97-AF65-F5344CB8AC3E}">
        <p14:creationId xmlns:p14="http://schemas.microsoft.com/office/powerpoint/2010/main" val="3273495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Title Slide Fram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199" b="1">
              <a:solidFill>
                <a:schemeClr val="tx1"/>
              </a:solidFill>
            </a:endParaRPr>
          </a:p>
        </p:txBody>
      </p:sp>
      <p:grpSp>
        <p:nvGrpSpPr>
          <p:cNvPr id="5" name="Group 4">
            <a:extLst>
              <a:ext uri="{FF2B5EF4-FFF2-40B4-BE49-F238E27FC236}">
                <a16:creationId xmlns:a16="http://schemas.microsoft.com/office/drawing/2014/main" id="{9167EEE6-F985-2112-F3A8-85F1A04A37BD}"/>
              </a:ext>
            </a:extLst>
          </p:cNvPr>
          <p:cNvGrpSpPr/>
          <p:nvPr/>
        </p:nvGrpSpPr>
        <p:grpSpPr>
          <a:xfrm>
            <a:off x="485776"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sz="1799"/>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sz="1799"/>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7"/>
            <a:ext cx="4907628" cy="511939"/>
          </a:xfrm>
        </p:spPr>
        <p:txBody>
          <a:bodyPr wrap="square">
            <a:noAutofit/>
          </a:bodyPr>
          <a:lstStyle>
            <a:lvl1pPr marL="0" indent="0" algn="l">
              <a:buNone/>
              <a:defRPr lang="en-GB" sz="1599" kern="1200" dirty="0">
                <a:solidFill>
                  <a:schemeClr val="bg1"/>
                </a:solidFill>
                <a:latin typeface="EYInterstate" panose="02000503020000020004" pitchFamily="2" charset="0"/>
                <a:ea typeface="+mn-ea"/>
                <a:cs typeface="+mn-cs"/>
              </a:defRPr>
            </a:lvl1pPr>
            <a:lvl2pPr marL="456971" indent="0" algn="ctr">
              <a:buNone/>
              <a:defRPr sz="1999"/>
            </a:lvl2pPr>
            <a:lvl3pPr marL="913943" indent="0" algn="ctr">
              <a:buNone/>
              <a:defRPr sz="1799"/>
            </a:lvl3pPr>
            <a:lvl4pPr marL="1370914" indent="0" algn="ctr">
              <a:buNone/>
              <a:defRPr sz="1599"/>
            </a:lvl4pPr>
            <a:lvl5pPr marL="1827886" indent="0" algn="ctr">
              <a:buNone/>
              <a:defRPr sz="1599"/>
            </a:lvl5pPr>
            <a:lvl6pPr marL="2284857" indent="0" algn="ctr">
              <a:buNone/>
              <a:defRPr sz="1599"/>
            </a:lvl6pPr>
            <a:lvl7pPr marL="2741828" indent="0" algn="ctr">
              <a:buNone/>
              <a:defRPr sz="1599"/>
            </a:lvl7pPr>
            <a:lvl8pPr marL="3198800" indent="0" algn="ctr">
              <a:buNone/>
              <a:defRPr sz="1599"/>
            </a:lvl8pPr>
            <a:lvl9pPr marL="3655771" indent="0" algn="ctr">
              <a:buNone/>
              <a:defRPr sz="1599"/>
            </a:lvl9pPr>
          </a:lstStyle>
          <a:p>
            <a:r>
              <a:rPr lang="en-GB"/>
              <a:t>Click to edit master subtitle style</a:t>
            </a:r>
            <a:endParaRPr lang="en-US"/>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2"/>
            <a:ext cx="4906009" cy="1654043"/>
          </a:xfrm>
        </p:spPr>
        <p:txBody>
          <a:bodyPr anchor="t">
            <a:noAutofit/>
          </a:bodyPr>
          <a:lstStyle>
            <a:lvl1pPr>
              <a:defRPr sz="4198" b="1" i="0">
                <a:solidFill>
                  <a:schemeClr val="bg1"/>
                </a:solidFill>
                <a:latin typeface="EYInterstate" panose="02000503020000020004" pitchFamily="2" charset="0"/>
              </a:defRPr>
            </a:lvl1pPr>
          </a:lstStyle>
          <a:p>
            <a:r>
              <a:rPr lang="en-US"/>
              <a:t>Click to edit Master title style</a:t>
            </a:r>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3" y="5047487"/>
            <a:ext cx="4906010" cy="246221"/>
          </a:xfrm>
        </p:spPr>
        <p:txBody>
          <a:bodyPr wrap="square">
            <a:spAutoFit/>
          </a:bodyPr>
          <a:lstStyle>
            <a:lvl1pPr marL="0" indent="0">
              <a:buNone/>
              <a:defRPr sz="1599" b="1">
                <a:latin typeface="EYInterstate" panose="02000503020000020004" pitchFamily="2" charset="0"/>
              </a:defRPr>
            </a:lvl1pPr>
            <a:lvl2pPr marL="251874" indent="0">
              <a:buNone/>
              <a:defRPr sz="1599" b="1">
                <a:latin typeface="+mj-lt"/>
              </a:defRPr>
            </a:lvl2pPr>
            <a:lvl3pPr marL="503748" indent="0">
              <a:buNone/>
              <a:defRPr sz="1599" b="1">
                <a:latin typeface="+mj-lt"/>
              </a:defRPr>
            </a:lvl3pPr>
            <a:lvl4pPr marL="755622" indent="0">
              <a:buNone/>
              <a:defRPr sz="1599" b="1">
                <a:latin typeface="+mj-lt"/>
              </a:defRPr>
            </a:lvl4pPr>
            <a:lvl5pPr marL="1007496" indent="0">
              <a:buNone/>
              <a:defRPr sz="1599" b="1">
                <a:latin typeface="+mj-lt"/>
              </a:defRPr>
            </a:lvl5pPr>
          </a:lstStyle>
          <a:p>
            <a:pPr lvl="0"/>
            <a:r>
              <a:rPr lang="en-US"/>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p:nvGrpSpPr>
        <p:grpSpPr>
          <a:xfrm>
            <a:off x="485774" y="1291010"/>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sz="1799"/>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sz="1799"/>
            </a:p>
          </p:txBody>
        </p:sp>
      </p:grpSp>
      <p:grpSp>
        <p:nvGrpSpPr>
          <p:cNvPr id="6" name="Group 5">
            <a:extLst>
              <a:ext uri="{FF2B5EF4-FFF2-40B4-BE49-F238E27FC236}">
                <a16:creationId xmlns:a16="http://schemas.microsoft.com/office/drawing/2014/main" id="{67AEBF90-6B4E-C743-2098-786F67C750D5}"/>
              </a:ext>
            </a:extLst>
          </p:cNvPr>
          <p:cNvGrpSpPr>
            <a:grpSpLocks noChangeAspect="1"/>
          </p:cNvGrpSpPr>
          <p:nvPr/>
        </p:nvGrpSpPr>
        <p:grpSpPr>
          <a:xfrm>
            <a:off x="10562024" y="5167683"/>
            <a:ext cx="1220400" cy="1285398"/>
            <a:chOff x="3913438" y="-99392"/>
            <a:chExt cx="6512821" cy="6859693"/>
          </a:xfrm>
        </p:grpSpPr>
        <p:sp>
          <p:nvSpPr>
            <p:cNvPr id="7" name="Freeform: Shape 6">
              <a:extLst>
                <a:ext uri="{FF2B5EF4-FFF2-40B4-BE49-F238E27FC236}">
                  <a16:creationId xmlns:a16="http://schemas.microsoft.com/office/drawing/2014/main" id="{0C9C1757-8C94-A6AF-A3BA-BBD03B3D52CA}"/>
                </a:ext>
              </a:extLst>
            </p:cNvPr>
            <p:cNvSpPr/>
            <p:nvPr/>
          </p:nvSpPr>
          <p:spPr>
            <a:xfrm>
              <a:off x="5319751" y="-99392"/>
              <a:ext cx="4303606" cy="1570696"/>
            </a:xfrm>
            <a:custGeom>
              <a:avLst/>
              <a:gdLst>
                <a:gd name="connsiteX0" fmla="*/ 4303607 w 4303606"/>
                <a:gd name="connsiteY0" fmla="*/ 0 h 1570696"/>
                <a:gd name="connsiteX1" fmla="*/ 0 w 4303606"/>
                <a:gd name="connsiteY1" fmla="*/ 1570697 h 1570696"/>
                <a:gd name="connsiteX2" fmla="*/ 4303607 w 4303606"/>
                <a:gd name="connsiteY2" fmla="*/ 810521 h 1570696"/>
                <a:gd name="connsiteX3" fmla="*/ 4303607 w 4303606"/>
                <a:gd name="connsiteY3" fmla="*/ 0 h 1570696"/>
              </a:gdLst>
              <a:ahLst/>
              <a:cxnLst>
                <a:cxn ang="0">
                  <a:pos x="connsiteX0" y="connsiteY0"/>
                </a:cxn>
                <a:cxn ang="0">
                  <a:pos x="connsiteX1" y="connsiteY1"/>
                </a:cxn>
                <a:cxn ang="0">
                  <a:pos x="connsiteX2" y="connsiteY2"/>
                </a:cxn>
                <a:cxn ang="0">
                  <a:pos x="connsiteX3" y="connsiteY3"/>
                </a:cxn>
              </a:cxnLst>
              <a:rect l="l" t="t" r="r" b="b"/>
              <a:pathLst>
                <a:path w="4303606" h="1570696">
                  <a:moveTo>
                    <a:pt x="4303607" y="0"/>
                  </a:moveTo>
                  <a:lnTo>
                    <a:pt x="0" y="1570697"/>
                  </a:lnTo>
                  <a:lnTo>
                    <a:pt x="4303607" y="810521"/>
                  </a:lnTo>
                  <a:lnTo>
                    <a:pt x="4303607" y="0"/>
                  </a:lnTo>
                  <a:close/>
                </a:path>
              </a:pathLst>
            </a:custGeom>
            <a:solidFill>
              <a:srgbClr val="FFE600"/>
            </a:solidFill>
            <a:ln w="6506" cap="flat">
              <a:noFill/>
              <a:prstDash val="solid"/>
              <a:miter/>
            </a:ln>
          </p:spPr>
          <p:txBody>
            <a:bodyPr rtlCol="0" anchor="ctr"/>
            <a:lstStyle/>
            <a:p>
              <a:endParaRPr lang="en-US" sz="1799"/>
            </a:p>
          </p:txBody>
        </p:sp>
        <p:sp>
          <p:nvSpPr>
            <p:cNvPr id="8" name="Freeform: Shape 7">
              <a:extLst>
                <a:ext uri="{FF2B5EF4-FFF2-40B4-BE49-F238E27FC236}">
                  <a16:creationId xmlns:a16="http://schemas.microsoft.com/office/drawing/2014/main" id="{AA6AE5F3-3050-E5BF-9762-F46B3D60EEC1}"/>
                </a:ext>
              </a:extLst>
            </p:cNvPr>
            <p:cNvSpPr/>
            <p:nvPr/>
          </p:nvSpPr>
          <p:spPr>
            <a:xfrm>
              <a:off x="5357395" y="2124345"/>
              <a:ext cx="3613052" cy="2176910"/>
            </a:xfrm>
            <a:custGeom>
              <a:avLst/>
              <a:gdLst>
                <a:gd name="connsiteX0" fmla="*/ 652845 w 3613052"/>
                <a:gd name="connsiteY0" fmla="*/ 1676205 h 2176910"/>
                <a:gd name="connsiteX1" fmla="*/ 1741463 w 3613052"/>
                <a:gd name="connsiteY1" fmla="*/ 1676205 h 2176910"/>
                <a:gd name="connsiteX2" fmla="*/ 1741463 w 3613052"/>
                <a:gd name="connsiteY2" fmla="*/ 2176910 h 2176910"/>
                <a:gd name="connsiteX3" fmla="*/ 0 w 3613052"/>
                <a:gd name="connsiteY3" fmla="*/ 2176910 h 2176910"/>
                <a:gd name="connsiteX4" fmla="*/ 0 w 3613052"/>
                <a:gd name="connsiteY4" fmla="*/ 0 h 2176910"/>
                <a:gd name="connsiteX5" fmla="*/ 1234766 w 3613052"/>
                <a:gd name="connsiteY5" fmla="*/ 0 h 2176910"/>
                <a:gd name="connsiteX6" fmla="*/ 1523675 w 3613052"/>
                <a:gd name="connsiteY6" fmla="*/ 500706 h 2176910"/>
                <a:gd name="connsiteX7" fmla="*/ 652910 w 3613052"/>
                <a:gd name="connsiteY7" fmla="*/ 500706 h 2176910"/>
                <a:gd name="connsiteX8" fmla="*/ 652910 w 3613052"/>
                <a:gd name="connsiteY8" fmla="*/ 859953 h 2176910"/>
                <a:gd name="connsiteX9" fmla="*/ 1440050 w 3613052"/>
                <a:gd name="connsiteY9" fmla="*/ 859953 h 2176910"/>
                <a:gd name="connsiteX10" fmla="*/ 1440050 w 3613052"/>
                <a:gd name="connsiteY10" fmla="*/ 1317022 h 2176910"/>
                <a:gd name="connsiteX11" fmla="*/ 652910 w 3613052"/>
                <a:gd name="connsiteY11" fmla="*/ 1317022 h 2176910"/>
                <a:gd name="connsiteX12" fmla="*/ 652910 w 3613052"/>
                <a:gd name="connsiteY12" fmla="*/ 1676205 h 2176910"/>
                <a:gd name="connsiteX13" fmla="*/ 2900485 w 3613052"/>
                <a:gd name="connsiteY13" fmla="*/ 0 h 2176910"/>
                <a:gd name="connsiteX14" fmla="*/ 2530687 w 3613052"/>
                <a:gd name="connsiteY14" fmla="*/ 710418 h 2176910"/>
                <a:gd name="connsiteX15" fmla="*/ 2161801 w 3613052"/>
                <a:gd name="connsiteY15" fmla="*/ 0 h 2176910"/>
                <a:gd name="connsiteX16" fmla="*/ 1439985 w 3613052"/>
                <a:gd name="connsiteY16" fmla="*/ 0 h 2176910"/>
                <a:gd name="connsiteX17" fmla="*/ 2200552 w 3613052"/>
                <a:gd name="connsiteY17" fmla="*/ 1317022 h 2176910"/>
                <a:gd name="connsiteX18" fmla="*/ 2200552 w 3613052"/>
                <a:gd name="connsiteY18" fmla="*/ 2176910 h 2176910"/>
                <a:gd name="connsiteX19" fmla="*/ 2851443 w 3613052"/>
                <a:gd name="connsiteY19" fmla="*/ 2176910 h 2176910"/>
                <a:gd name="connsiteX20" fmla="*/ 2851443 w 3613052"/>
                <a:gd name="connsiteY20" fmla="*/ 1317022 h 2176910"/>
                <a:gd name="connsiteX21" fmla="*/ 3613053 w 3613052"/>
                <a:gd name="connsiteY21" fmla="*/ 0 h 2176910"/>
                <a:gd name="connsiteX22" fmla="*/ 2900485 w 3613052"/>
                <a:gd name="connsiteY22" fmla="*/ 0 h 2176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613052" h="2176910">
                  <a:moveTo>
                    <a:pt x="652845" y="1676205"/>
                  </a:moveTo>
                  <a:lnTo>
                    <a:pt x="1741463" y="1676205"/>
                  </a:lnTo>
                  <a:lnTo>
                    <a:pt x="1741463" y="2176910"/>
                  </a:lnTo>
                  <a:lnTo>
                    <a:pt x="0" y="2176910"/>
                  </a:lnTo>
                  <a:lnTo>
                    <a:pt x="0" y="0"/>
                  </a:lnTo>
                  <a:lnTo>
                    <a:pt x="1234766" y="0"/>
                  </a:lnTo>
                  <a:lnTo>
                    <a:pt x="1523675" y="500706"/>
                  </a:lnTo>
                  <a:lnTo>
                    <a:pt x="652910" y="500706"/>
                  </a:lnTo>
                  <a:lnTo>
                    <a:pt x="652910" y="859953"/>
                  </a:lnTo>
                  <a:lnTo>
                    <a:pt x="1440050" y="859953"/>
                  </a:lnTo>
                  <a:lnTo>
                    <a:pt x="1440050" y="1317022"/>
                  </a:lnTo>
                  <a:lnTo>
                    <a:pt x="652910" y="1317022"/>
                  </a:lnTo>
                  <a:lnTo>
                    <a:pt x="652910" y="1676205"/>
                  </a:lnTo>
                  <a:close/>
                  <a:moveTo>
                    <a:pt x="2900485" y="0"/>
                  </a:moveTo>
                  <a:lnTo>
                    <a:pt x="2530687" y="710418"/>
                  </a:lnTo>
                  <a:lnTo>
                    <a:pt x="2161801" y="0"/>
                  </a:lnTo>
                  <a:lnTo>
                    <a:pt x="1439985" y="0"/>
                  </a:lnTo>
                  <a:lnTo>
                    <a:pt x="2200552" y="1317022"/>
                  </a:lnTo>
                  <a:lnTo>
                    <a:pt x="2200552" y="2176910"/>
                  </a:lnTo>
                  <a:lnTo>
                    <a:pt x="2851443" y="2176910"/>
                  </a:lnTo>
                  <a:lnTo>
                    <a:pt x="2851443" y="1317022"/>
                  </a:lnTo>
                  <a:lnTo>
                    <a:pt x="3613053" y="0"/>
                  </a:lnTo>
                  <a:lnTo>
                    <a:pt x="2900485" y="0"/>
                  </a:lnTo>
                  <a:close/>
                </a:path>
              </a:pathLst>
            </a:custGeom>
            <a:solidFill>
              <a:schemeClr val="bg1"/>
            </a:solidFill>
            <a:ln w="6506" cap="flat">
              <a:noFill/>
              <a:prstDash val="solid"/>
              <a:miter/>
            </a:ln>
          </p:spPr>
          <p:txBody>
            <a:bodyPr rtlCol="0" anchor="ctr"/>
            <a:lstStyle/>
            <a:p>
              <a:endParaRPr lang="en-US" sz="1799"/>
            </a:p>
          </p:txBody>
        </p:sp>
        <p:sp>
          <p:nvSpPr>
            <p:cNvPr id="9" name="Freeform: Shape 8">
              <a:extLst>
                <a:ext uri="{FF2B5EF4-FFF2-40B4-BE49-F238E27FC236}">
                  <a16:creationId xmlns:a16="http://schemas.microsoft.com/office/drawing/2014/main" id="{9D23A643-B30A-6BB1-47DB-C281B5429370}"/>
                </a:ext>
              </a:extLst>
            </p:cNvPr>
            <p:cNvSpPr/>
            <p:nvPr/>
          </p:nvSpPr>
          <p:spPr>
            <a:xfrm>
              <a:off x="3913438" y="5111711"/>
              <a:ext cx="6512821" cy="1648590"/>
            </a:xfrm>
            <a:custGeom>
              <a:avLst/>
              <a:gdLst>
                <a:gd name="connsiteX0" fmla="*/ 5071143 w 6512821"/>
                <a:gd name="connsiteY0" fmla="*/ 1396740 h 1648590"/>
                <a:gd name="connsiteX1" fmla="*/ 5069124 w 6512821"/>
                <a:gd name="connsiteY1" fmla="*/ 1438552 h 1648590"/>
                <a:gd name="connsiteX2" fmla="*/ 4777545 w 6512821"/>
                <a:gd name="connsiteY2" fmla="*/ 1438552 h 1648590"/>
                <a:gd name="connsiteX3" fmla="*/ 4880513 w 6512821"/>
                <a:gd name="connsiteY3" fmla="*/ 1533378 h 1648590"/>
                <a:gd name="connsiteX4" fmla="*/ 4964137 w 6512821"/>
                <a:gd name="connsiteY4" fmla="*/ 1499707 h 1648590"/>
                <a:gd name="connsiteX5" fmla="*/ 5049781 w 6512821"/>
                <a:gd name="connsiteY5" fmla="*/ 1572065 h 1648590"/>
                <a:gd name="connsiteX6" fmla="*/ 4875433 w 6512821"/>
                <a:gd name="connsiteY6" fmla="*/ 1648525 h 1648590"/>
                <a:gd name="connsiteX7" fmla="*/ 4654192 w 6512821"/>
                <a:gd name="connsiteY7" fmla="*/ 1398759 h 1648590"/>
                <a:gd name="connsiteX8" fmla="*/ 4867292 w 6512821"/>
                <a:gd name="connsiteY8" fmla="*/ 1146908 h 1648590"/>
                <a:gd name="connsiteX9" fmla="*/ 5071208 w 6512821"/>
                <a:gd name="connsiteY9" fmla="*/ 1396675 h 1648590"/>
                <a:gd name="connsiteX10" fmla="*/ 4779564 w 6512821"/>
                <a:gd name="connsiteY10" fmla="*/ 1344767 h 1648590"/>
                <a:gd name="connsiteX11" fmla="*/ 4950851 w 6512821"/>
                <a:gd name="connsiteY11" fmla="*/ 1344767 h 1648590"/>
                <a:gd name="connsiteX12" fmla="*/ 4863189 w 6512821"/>
                <a:gd name="connsiteY12" fmla="*/ 1254044 h 1648590"/>
                <a:gd name="connsiteX13" fmla="*/ 4779564 w 6512821"/>
                <a:gd name="connsiteY13" fmla="*/ 1344767 h 1648590"/>
                <a:gd name="connsiteX14" fmla="*/ 6512756 w 6512821"/>
                <a:gd name="connsiteY14" fmla="*/ 1396740 h 1648590"/>
                <a:gd name="connsiteX15" fmla="*/ 6510737 w 6512821"/>
                <a:gd name="connsiteY15" fmla="*/ 1438552 h 1648590"/>
                <a:gd name="connsiteX16" fmla="*/ 6219158 w 6512821"/>
                <a:gd name="connsiteY16" fmla="*/ 1438552 h 1648590"/>
                <a:gd name="connsiteX17" fmla="*/ 6322126 w 6512821"/>
                <a:gd name="connsiteY17" fmla="*/ 1533378 h 1648590"/>
                <a:gd name="connsiteX18" fmla="*/ 6405751 w 6512821"/>
                <a:gd name="connsiteY18" fmla="*/ 1499707 h 1648590"/>
                <a:gd name="connsiteX19" fmla="*/ 6491394 w 6512821"/>
                <a:gd name="connsiteY19" fmla="*/ 1572065 h 1648590"/>
                <a:gd name="connsiteX20" fmla="*/ 6317046 w 6512821"/>
                <a:gd name="connsiteY20" fmla="*/ 1648525 h 1648590"/>
                <a:gd name="connsiteX21" fmla="*/ 6095805 w 6512821"/>
                <a:gd name="connsiteY21" fmla="*/ 1398759 h 1648590"/>
                <a:gd name="connsiteX22" fmla="*/ 6308905 w 6512821"/>
                <a:gd name="connsiteY22" fmla="*/ 1146908 h 1648590"/>
                <a:gd name="connsiteX23" fmla="*/ 6512821 w 6512821"/>
                <a:gd name="connsiteY23" fmla="*/ 1396675 h 1648590"/>
                <a:gd name="connsiteX24" fmla="*/ 6221177 w 6512821"/>
                <a:gd name="connsiteY24" fmla="*/ 1344767 h 1648590"/>
                <a:gd name="connsiteX25" fmla="*/ 6392465 w 6512821"/>
                <a:gd name="connsiteY25" fmla="*/ 1344767 h 1648590"/>
                <a:gd name="connsiteX26" fmla="*/ 6304802 w 6512821"/>
                <a:gd name="connsiteY26" fmla="*/ 1254044 h 1648590"/>
                <a:gd name="connsiteX27" fmla="*/ 6221177 w 6512821"/>
                <a:gd name="connsiteY27" fmla="*/ 1344767 h 1648590"/>
                <a:gd name="connsiteX28" fmla="*/ 5978509 w 6512821"/>
                <a:gd name="connsiteY28" fmla="*/ 1467143 h 1648590"/>
                <a:gd name="connsiteX29" fmla="*/ 6058031 w 6512821"/>
                <a:gd name="connsiteY29" fmla="*/ 1542561 h 1648590"/>
                <a:gd name="connsiteX30" fmla="*/ 5866359 w 6512821"/>
                <a:gd name="connsiteY30" fmla="*/ 1648590 h 1648590"/>
                <a:gd name="connsiteX31" fmla="*/ 5637954 w 6512821"/>
                <a:gd name="connsiteY31" fmla="*/ 1398823 h 1648590"/>
                <a:gd name="connsiteX32" fmla="*/ 5868378 w 6512821"/>
                <a:gd name="connsiteY32" fmla="*/ 1146973 h 1648590"/>
                <a:gd name="connsiteX33" fmla="*/ 6056989 w 6512821"/>
                <a:gd name="connsiteY33" fmla="*/ 1250983 h 1648590"/>
                <a:gd name="connsiteX34" fmla="*/ 5975448 w 6512821"/>
                <a:gd name="connsiteY34" fmla="*/ 1333565 h 1648590"/>
                <a:gd name="connsiteX35" fmla="*/ 5867401 w 6512821"/>
                <a:gd name="connsiteY35" fmla="*/ 1266288 h 1648590"/>
                <a:gd name="connsiteX36" fmla="*/ 5766452 w 6512821"/>
                <a:gd name="connsiteY36" fmla="*/ 1396804 h 1648590"/>
                <a:gd name="connsiteX37" fmla="*/ 5868378 w 6512821"/>
                <a:gd name="connsiteY37" fmla="*/ 1528299 h 1648590"/>
                <a:gd name="connsiteX38" fmla="*/ 5978509 w 6512821"/>
                <a:gd name="connsiteY38" fmla="*/ 1467143 h 1648590"/>
                <a:gd name="connsiteX39" fmla="*/ 4869246 w 6512821"/>
                <a:gd name="connsiteY39" fmla="*/ 667825 h 1648590"/>
                <a:gd name="connsiteX40" fmla="*/ 4750973 w 6512821"/>
                <a:gd name="connsiteY40" fmla="*/ 667825 h 1648590"/>
                <a:gd name="connsiteX41" fmla="*/ 4750973 w 6512821"/>
                <a:gd name="connsiteY41" fmla="*/ 634153 h 1648590"/>
                <a:gd name="connsiteX42" fmla="*/ 4638822 w 6512821"/>
                <a:gd name="connsiteY42" fmla="*/ 677984 h 1648590"/>
                <a:gd name="connsiteX43" fmla="*/ 4467535 w 6512821"/>
                <a:gd name="connsiteY43" fmla="*/ 458763 h 1648590"/>
                <a:gd name="connsiteX44" fmla="*/ 4467535 w 6512821"/>
                <a:gd name="connsiteY44" fmla="*/ 186527 h 1648590"/>
                <a:gd name="connsiteX45" fmla="*/ 4587827 w 6512821"/>
                <a:gd name="connsiteY45" fmla="*/ 186527 h 1648590"/>
                <a:gd name="connsiteX46" fmla="*/ 4587827 w 6512821"/>
                <a:gd name="connsiteY46" fmla="*/ 448538 h 1648590"/>
                <a:gd name="connsiteX47" fmla="*/ 4668390 w 6512821"/>
                <a:gd name="connsiteY47" fmla="*/ 562708 h 1648590"/>
                <a:gd name="connsiteX48" fmla="*/ 4748954 w 6512821"/>
                <a:gd name="connsiteY48" fmla="*/ 452576 h 1648590"/>
                <a:gd name="connsiteX49" fmla="*/ 4748954 w 6512821"/>
                <a:gd name="connsiteY49" fmla="*/ 186462 h 1648590"/>
                <a:gd name="connsiteX50" fmla="*/ 4869246 w 6512821"/>
                <a:gd name="connsiteY50" fmla="*/ 186462 h 1648590"/>
                <a:gd name="connsiteX51" fmla="*/ 4869246 w 6512821"/>
                <a:gd name="connsiteY51" fmla="*/ 667695 h 1648590"/>
                <a:gd name="connsiteX52" fmla="*/ 5244449 w 6512821"/>
                <a:gd name="connsiteY52" fmla="*/ 527083 h 1648590"/>
                <a:gd name="connsiteX53" fmla="*/ 5227125 w 6512821"/>
                <a:gd name="connsiteY53" fmla="*/ 649458 h 1648590"/>
                <a:gd name="connsiteX54" fmla="*/ 5128261 w 6512821"/>
                <a:gd name="connsiteY54" fmla="*/ 677984 h 1648590"/>
                <a:gd name="connsiteX55" fmla="*/ 4997744 w 6512821"/>
                <a:gd name="connsiteY55" fmla="*/ 535224 h 1648590"/>
                <a:gd name="connsiteX56" fmla="*/ 4997744 w 6512821"/>
                <a:gd name="connsiteY56" fmla="*/ 301739 h 1648590"/>
                <a:gd name="connsiteX57" fmla="*/ 4928447 w 6512821"/>
                <a:gd name="connsiteY57" fmla="*/ 301739 h 1648590"/>
                <a:gd name="connsiteX58" fmla="*/ 4928447 w 6512821"/>
                <a:gd name="connsiteY58" fmla="*/ 186527 h 1648590"/>
                <a:gd name="connsiteX59" fmla="*/ 4997744 w 6512821"/>
                <a:gd name="connsiteY59" fmla="*/ 186527 h 1648590"/>
                <a:gd name="connsiteX60" fmla="*/ 4997744 w 6512821"/>
                <a:gd name="connsiteY60" fmla="*/ 61155 h 1648590"/>
                <a:gd name="connsiteX61" fmla="*/ 5118035 w 6512821"/>
                <a:gd name="connsiteY61" fmla="*/ 0 h 1648590"/>
                <a:gd name="connsiteX62" fmla="*/ 5118035 w 6512821"/>
                <a:gd name="connsiteY62" fmla="*/ 186592 h 1648590"/>
                <a:gd name="connsiteX63" fmla="*/ 5232205 w 6512821"/>
                <a:gd name="connsiteY63" fmla="*/ 186592 h 1648590"/>
                <a:gd name="connsiteX64" fmla="*/ 5232205 w 6512821"/>
                <a:gd name="connsiteY64" fmla="*/ 301804 h 1648590"/>
                <a:gd name="connsiteX65" fmla="*/ 5118035 w 6512821"/>
                <a:gd name="connsiteY65" fmla="*/ 301804 h 1648590"/>
                <a:gd name="connsiteX66" fmla="*/ 5118035 w 6512821"/>
                <a:gd name="connsiteY66" fmla="*/ 503701 h 1648590"/>
                <a:gd name="connsiteX67" fmla="*/ 5164928 w 6512821"/>
                <a:gd name="connsiteY67" fmla="*/ 560819 h 1648590"/>
                <a:gd name="connsiteX68" fmla="*/ 5244449 w 6512821"/>
                <a:gd name="connsiteY68" fmla="*/ 527148 h 1648590"/>
                <a:gd name="connsiteX69" fmla="*/ 3417407 w 6512821"/>
                <a:gd name="connsiteY69" fmla="*/ 667825 h 1648590"/>
                <a:gd name="connsiteX70" fmla="*/ 3297116 w 6512821"/>
                <a:gd name="connsiteY70" fmla="*/ 667825 h 1648590"/>
                <a:gd name="connsiteX71" fmla="*/ 3297116 w 6512821"/>
                <a:gd name="connsiteY71" fmla="*/ 405814 h 1648590"/>
                <a:gd name="connsiteX72" fmla="*/ 3215575 w 6512821"/>
                <a:gd name="connsiteY72" fmla="*/ 292621 h 1648590"/>
                <a:gd name="connsiteX73" fmla="*/ 3132993 w 6512821"/>
                <a:gd name="connsiteY73" fmla="*/ 402753 h 1648590"/>
                <a:gd name="connsiteX74" fmla="*/ 3132993 w 6512821"/>
                <a:gd name="connsiteY74" fmla="*/ 667825 h 1648590"/>
                <a:gd name="connsiteX75" fmla="*/ 3012701 w 6512821"/>
                <a:gd name="connsiteY75" fmla="*/ 667825 h 1648590"/>
                <a:gd name="connsiteX76" fmla="*/ 3012701 w 6512821"/>
                <a:gd name="connsiteY76" fmla="*/ 61221 h 1648590"/>
                <a:gd name="connsiteX77" fmla="*/ 3132993 w 6512821"/>
                <a:gd name="connsiteY77" fmla="*/ 65 h 1648590"/>
                <a:gd name="connsiteX78" fmla="*/ 3132993 w 6512821"/>
                <a:gd name="connsiteY78" fmla="*/ 220264 h 1648590"/>
                <a:gd name="connsiteX79" fmla="*/ 3246186 w 6512821"/>
                <a:gd name="connsiteY79" fmla="*/ 176432 h 1648590"/>
                <a:gd name="connsiteX80" fmla="*/ 3417473 w 6512821"/>
                <a:gd name="connsiteY80" fmla="*/ 396631 h 1648590"/>
                <a:gd name="connsiteX81" fmla="*/ 3417473 w 6512821"/>
                <a:gd name="connsiteY81" fmla="*/ 667825 h 1648590"/>
                <a:gd name="connsiteX82" fmla="*/ 5564554 w 6512821"/>
                <a:gd name="connsiteY82" fmla="*/ 1638365 h 1648590"/>
                <a:gd name="connsiteX83" fmla="*/ 5440160 w 6512821"/>
                <a:gd name="connsiteY83" fmla="*/ 1638365 h 1648590"/>
                <a:gd name="connsiteX84" fmla="*/ 5440160 w 6512821"/>
                <a:gd name="connsiteY84" fmla="*/ 1376355 h 1648590"/>
                <a:gd name="connsiteX85" fmla="*/ 5357577 w 6512821"/>
                <a:gd name="connsiteY85" fmla="*/ 1264204 h 1648590"/>
                <a:gd name="connsiteX86" fmla="*/ 5273952 w 6512821"/>
                <a:gd name="connsiteY86" fmla="*/ 1373293 h 1648590"/>
                <a:gd name="connsiteX87" fmla="*/ 5273952 w 6512821"/>
                <a:gd name="connsiteY87" fmla="*/ 1638365 h 1648590"/>
                <a:gd name="connsiteX88" fmla="*/ 5149558 w 6512821"/>
                <a:gd name="connsiteY88" fmla="*/ 1638365 h 1648590"/>
                <a:gd name="connsiteX89" fmla="*/ 5149558 w 6512821"/>
                <a:gd name="connsiteY89" fmla="*/ 1157133 h 1648590"/>
                <a:gd name="connsiteX90" fmla="*/ 5273952 w 6512821"/>
                <a:gd name="connsiteY90" fmla="*/ 1157133 h 1648590"/>
                <a:gd name="connsiteX91" fmla="*/ 5273952 w 6512821"/>
                <a:gd name="connsiteY91" fmla="*/ 1189762 h 1648590"/>
                <a:gd name="connsiteX92" fmla="*/ 5391183 w 6512821"/>
                <a:gd name="connsiteY92" fmla="*/ 1146973 h 1648590"/>
                <a:gd name="connsiteX93" fmla="*/ 5564490 w 6512821"/>
                <a:gd name="connsiteY93" fmla="*/ 1366195 h 1648590"/>
                <a:gd name="connsiteX94" fmla="*/ 5564490 w 6512821"/>
                <a:gd name="connsiteY94" fmla="*/ 1638430 h 1648590"/>
                <a:gd name="connsiteX95" fmla="*/ 4008772 w 6512821"/>
                <a:gd name="connsiteY95" fmla="*/ 1115386 h 1648590"/>
                <a:gd name="connsiteX96" fmla="*/ 4080152 w 6512821"/>
                <a:gd name="connsiteY96" fmla="*/ 1044005 h 1648590"/>
                <a:gd name="connsiteX97" fmla="*/ 4008772 w 6512821"/>
                <a:gd name="connsiteY97" fmla="*/ 972624 h 1648590"/>
                <a:gd name="connsiteX98" fmla="*/ 3937391 w 6512821"/>
                <a:gd name="connsiteY98" fmla="*/ 1044005 h 1648590"/>
                <a:gd name="connsiteX99" fmla="*/ 4008772 w 6512821"/>
                <a:gd name="connsiteY99" fmla="*/ 1115386 h 1648590"/>
                <a:gd name="connsiteX100" fmla="*/ 829864 w 6512821"/>
                <a:gd name="connsiteY100" fmla="*/ 1115386 h 1648590"/>
                <a:gd name="connsiteX101" fmla="*/ 901244 w 6512821"/>
                <a:gd name="connsiteY101" fmla="*/ 1044005 h 1648590"/>
                <a:gd name="connsiteX102" fmla="*/ 829864 w 6512821"/>
                <a:gd name="connsiteY102" fmla="*/ 972624 h 1648590"/>
                <a:gd name="connsiteX103" fmla="*/ 758483 w 6512821"/>
                <a:gd name="connsiteY103" fmla="*/ 1044005 h 1648590"/>
                <a:gd name="connsiteX104" fmla="*/ 829864 w 6512821"/>
                <a:gd name="connsiteY104" fmla="*/ 1115386 h 1648590"/>
                <a:gd name="connsiteX105" fmla="*/ 6512756 w 6512821"/>
                <a:gd name="connsiteY105" fmla="*/ 426134 h 1648590"/>
                <a:gd name="connsiteX106" fmla="*/ 6510737 w 6512821"/>
                <a:gd name="connsiteY106" fmla="*/ 467946 h 1648590"/>
                <a:gd name="connsiteX107" fmla="*/ 6219158 w 6512821"/>
                <a:gd name="connsiteY107" fmla="*/ 467946 h 1648590"/>
                <a:gd name="connsiteX108" fmla="*/ 6322126 w 6512821"/>
                <a:gd name="connsiteY108" fmla="*/ 562773 h 1648590"/>
                <a:gd name="connsiteX109" fmla="*/ 6405751 w 6512821"/>
                <a:gd name="connsiteY109" fmla="*/ 529102 h 1648590"/>
                <a:gd name="connsiteX110" fmla="*/ 6491394 w 6512821"/>
                <a:gd name="connsiteY110" fmla="*/ 601459 h 1648590"/>
                <a:gd name="connsiteX111" fmla="*/ 6317046 w 6512821"/>
                <a:gd name="connsiteY111" fmla="*/ 677919 h 1648590"/>
                <a:gd name="connsiteX112" fmla="*/ 6095805 w 6512821"/>
                <a:gd name="connsiteY112" fmla="*/ 428153 h 1648590"/>
                <a:gd name="connsiteX113" fmla="*/ 6308905 w 6512821"/>
                <a:gd name="connsiteY113" fmla="*/ 176302 h 1648590"/>
                <a:gd name="connsiteX114" fmla="*/ 6512821 w 6512821"/>
                <a:gd name="connsiteY114" fmla="*/ 426069 h 1648590"/>
                <a:gd name="connsiteX115" fmla="*/ 6221177 w 6512821"/>
                <a:gd name="connsiteY115" fmla="*/ 374162 h 1648590"/>
                <a:gd name="connsiteX116" fmla="*/ 6392465 w 6512821"/>
                <a:gd name="connsiteY116" fmla="*/ 374162 h 1648590"/>
                <a:gd name="connsiteX117" fmla="*/ 6304802 w 6512821"/>
                <a:gd name="connsiteY117" fmla="*/ 283438 h 1648590"/>
                <a:gd name="connsiteX118" fmla="*/ 6221177 w 6512821"/>
                <a:gd name="connsiteY118" fmla="*/ 374162 h 1648590"/>
                <a:gd name="connsiteX119" fmla="*/ 5702235 w 6512821"/>
                <a:gd name="connsiteY119" fmla="*/ 667825 h 1648590"/>
                <a:gd name="connsiteX120" fmla="*/ 5583963 w 6512821"/>
                <a:gd name="connsiteY120" fmla="*/ 667825 h 1648590"/>
                <a:gd name="connsiteX121" fmla="*/ 5583963 w 6512821"/>
                <a:gd name="connsiteY121" fmla="*/ 634153 h 1648590"/>
                <a:gd name="connsiteX122" fmla="*/ 5471812 w 6512821"/>
                <a:gd name="connsiteY122" fmla="*/ 677984 h 1648590"/>
                <a:gd name="connsiteX123" fmla="*/ 5300525 w 6512821"/>
                <a:gd name="connsiteY123" fmla="*/ 458763 h 1648590"/>
                <a:gd name="connsiteX124" fmla="*/ 5300525 w 6512821"/>
                <a:gd name="connsiteY124" fmla="*/ 186527 h 1648590"/>
                <a:gd name="connsiteX125" fmla="*/ 5420817 w 6512821"/>
                <a:gd name="connsiteY125" fmla="*/ 186527 h 1648590"/>
                <a:gd name="connsiteX126" fmla="*/ 5420817 w 6512821"/>
                <a:gd name="connsiteY126" fmla="*/ 448538 h 1648590"/>
                <a:gd name="connsiteX127" fmla="*/ 5501380 w 6512821"/>
                <a:gd name="connsiteY127" fmla="*/ 562708 h 1648590"/>
                <a:gd name="connsiteX128" fmla="*/ 5581944 w 6512821"/>
                <a:gd name="connsiteY128" fmla="*/ 452576 h 1648590"/>
                <a:gd name="connsiteX129" fmla="*/ 5581944 w 6512821"/>
                <a:gd name="connsiteY129" fmla="*/ 186462 h 1648590"/>
                <a:gd name="connsiteX130" fmla="*/ 5702235 w 6512821"/>
                <a:gd name="connsiteY130" fmla="*/ 186462 h 1648590"/>
                <a:gd name="connsiteX131" fmla="*/ 5702235 w 6512821"/>
                <a:gd name="connsiteY131" fmla="*/ 667695 h 1648590"/>
                <a:gd name="connsiteX132" fmla="*/ 3895579 w 6512821"/>
                <a:gd name="connsiteY132" fmla="*/ 426134 h 1648590"/>
                <a:gd name="connsiteX133" fmla="*/ 3893560 w 6512821"/>
                <a:gd name="connsiteY133" fmla="*/ 467946 h 1648590"/>
                <a:gd name="connsiteX134" fmla="*/ 3601981 w 6512821"/>
                <a:gd name="connsiteY134" fmla="*/ 467946 h 1648590"/>
                <a:gd name="connsiteX135" fmla="*/ 3704949 w 6512821"/>
                <a:gd name="connsiteY135" fmla="*/ 562773 h 1648590"/>
                <a:gd name="connsiteX136" fmla="*/ 3788573 w 6512821"/>
                <a:gd name="connsiteY136" fmla="*/ 529102 h 1648590"/>
                <a:gd name="connsiteX137" fmla="*/ 3874217 w 6512821"/>
                <a:gd name="connsiteY137" fmla="*/ 601459 h 1648590"/>
                <a:gd name="connsiteX138" fmla="*/ 3699868 w 6512821"/>
                <a:gd name="connsiteY138" fmla="*/ 677919 h 1648590"/>
                <a:gd name="connsiteX139" fmla="*/ 3478628 w 6512821"/>
                <a:gd name="connsiteY139" fmla="*/ 428153 h 1648590"/>
                <a:gd name="connsiteX140" fmla="*/ 3691727 w 6512821"/>
                <a:gd name="connsiteY140" fmla="*/ 176302 h 1648590"/>
                <a:gd name="connsiteX141" fmla="*/ 3895644 w 6512821"/>
                <a:gd name="connsiteY141" fmla="*/ 426069 h 1648590"/>
                <a:gd name="connsiteX142" fmla="*/ 3604000 w 6512821"/>
                <a:gd name="connsiteY142" fmla="*/ 374162 h 1648590"/>
                <a:gd name="connsiteX143" fmla="*/ 3775287 w 6512821"/>
                <a:gd name="connsiteY143" fmla="*/ 374162 h 1648590"/>
                <a:gd name="connsiteX144" fmla="*/ 3687624 w 6512821"/>
                <a:gd name="connsiteY144" fmla="*/ 283438 h 1648590"/>
                <a:gd name="connsiteX145" fmla="*/ 3604000 w 6512821"/>
                <a:gd name="connsiteY145" fmla="*/ 374162 h 1648590"/>
                <a:gd name="connsiteX146" fmla="*/ 4579686 w 6512821"/>
                <a:gd name="connsiteY146" fmla="*/ 1638365 h 1648590"/>
                <a:gd name="connsiteX147" fmla="*/ 4455291 w 6512821"/>
                <a:gd name="connsiteY147" fmla="*/ 1638365 h 1648590"/>
                <a:gd name="connsiteX148" fmla="*/ 4455291 w 6512821"/>
                <a:gd name="connsiteY148" fmla="*/ 1606778 h 1648590"/>
                <a:gd name="connsiteX149" fmla="*/ 4346201 w 6512821"/>
                <a:gd name="connsiteY149" fmla="*/ 1648590 h 1648590"/>
                <a:gd name="connsiteX150" fmla="*/ 4148406 w 6512821"/>
                <a:gd name="connsiteY150" fmla="*/ 1393678 h 1648590"/>
                <a:gd name="connsiteX151" fmla="*/ 4343140 w 6512821"/>
                <a:gd name="connsiteY151" fmla="*/ 1146973 h 1648590"/>
                <a:gd name="connsiteX152" fmla="*/ 4455291 w 6512821"/>
                <a:gd name="connsiteY152" fmla="*/ 1185724 h 1648590"/>
                <a:gd name="connsiteX153" fmla="*/ 4455291 w 6512821"/>
                <a:gd name="connsiteY153" fmla="*/ 1031761 h 1648590"/>
                <a:gd name="connsiteX154" fmla="*/ 4579686 w 6512821"/>
                <a:gd name="connsiteY154" fmla="*/ 969564 h 1648590"/>
                <a:gd name="connsiteX155" fmla="*/ 4579686 w 6512821"/>
                <a:gd name="connsiteY155" fmla="*/ 1638365 h 1648590"/>
                <a:gd name="connsiteX156" fmla="*/ 4455356 w 6512821"/>
                <a:gd name="connsiteY156" fmla="*/ 1489547 h 1648590"/>
                <a:gd name="connsiteX157" fmla="*/ 4455356 w 6512821"/>
                <a:gd name="connsiteY157" fmla="*/ 1306016 h 1648590"/>
                <a:gd name="connsiteX158" fmla="*/ 4368670 w 6512821"/>
                <a:gd name="connsiteY158" fmla="*/ 1264204 h 1648590"/>
                <a:gd name="connsiteX159" fmla="*/ 4278924 w 6512821"/>
                <a:gd name="connsiteY159" fmla="*/ 1389575 h 1648590"/>
                <a:gd name="connsiteX160" fmla="*/ 4371731 w 6512821"/>
                <a:gd name="connsiteY160" fmla="*/ 1531294 h 1648590"/>
                <a:gd name="connsiteX161" fmla="*/ 4455356 w 6512821"/>
                <a:gd name="connsiteY161" fmla="*/ 1489482 h 1648590"/>
                <a:gd name="connsiteX162" fmla="*/ 3945532 w 6512821"/>
                <a:gd name="connsiteY162" fmla="*/ 1157198 h 1648590"/>
                <a:gd name="connsiteX163" fmla="*/ 3945532 w 6512821"/>
                <a:gd name="connsiteY163" fmla="*/ 1638430 h 1648590"/>
                <a:gd name="connsiteX164" fmla="*/ 4069927 w 6512821"/>
                <a:gd name="connsiteY164" fmla="*/ 1638430 h 1648590"/>
                <a:gd name="connsiteX165" fmla="*/ 4069927 w 6512821"/>
                <a:gd name="connsiteY165" fmla="*/ 1157198 h 1648590"/>
                <a:gd name="connsiteX166" fmla="*/ 3945532 w 6512821"/>
                <a:gd name="connsiteY166" fmla="*/ 1157198 h 1648590"/>
                <a:gd name="connsiteX167" fmla="*/ 3873175 w 6512821"/>
                <a:gd name="connsiteY167" fmla="*/ 985911 h 1648590"/>
                <a:gd name="connsiteX168" fmla="*/ 3873175 w 6512821"/>
                <a:gd name="connsiteY168" fmla="*/ 1085817 h 1648590"/>
                <a:gd name="connsiteX169" fmla="*/ 3812019 w 6512821"/>
                <a:gd name="connsiteY169" fmla="*/ 1076634 h 1648590"/>
                <a:gd name="connsiteX170" fmla="*/ 3760047 w 6512821"/>
                <a:gd name="connsiteY170" fmla="*/ 1118447 h 1648590"/>
                <a:gd name="connsiteX171" fmla="*/ 3760047 w 6512821"/>
                <a:gd name="connsiteY171" fmla="*/ 1157198 h 1648590"/>
                <a:gd name="connsiteX172" fmla="*/ 3863015 w 6512821"/>
                <a:gd name="connsiteY172" fmla="*/ 1157198 h 1648590"/>
                <a:gd name="connsiteX173" fmla="*/ 3863015 w 6512821"/>
                <a:gd name="connsiteY173" fmla="*/ 1273452 h 1648590"/>
                <a:gd name="connsiteX174" fmla="*/ 3760047 w 6512821"/>
                <a:gd name="connsiteY174" fmla="*/ 1273452 h 1648590"/>
                <a:gd name="connsiteX175" fmla="*/ 3760047 w 6512821"/>
                <a:gd name="connsiteY175" fmla="*/ 1638430 h 1648590"/>
                <a:gd name="connsiteX176" fmla="*/ 3635652 w 6512821"/>
                <a:gd name="connsiteY176" fmla="*/ 1638430 h 1648590"/>
                <a:gd name="connsiteX177" fmla="*/ 3635652 w 6512821"/>
                <a:gd name="connsiteY177" fmla="*/ 1273452 h 1648590"/>
                <a:gd name="connsiteX178" fmla="*/ 3568375 w 6512821"/>
                <a:gd name="connsiteY178" fmla="*/ 1273452 h 1648590"/>
                <a:gd name="connsiteX179" fmla="*/ 3568375 w 6512821"/>
                <a:gd name="connsiteY179" fmla="*/ 1157198 h 1648590"/>
                <a:gd name="connsiteX180" fmla="*/ 3635652 w 6512821"/>
                <a:gd name="connsiteY180" fmla="*/ 1157198 h 1648590"/>
                <a:gd name="connsiteX181" fmla="*/ 3635652 w 6512821"/>
                <a:gd name="connsiteY181" fmla="*/ 1099104 h 1648590"/>
                <a:gd name="connsiteX182" fmla="*/ 3782451 w 6512821"/>
                <a:gd name="connsiteY182" fmla="*/ 972690 h 1648590"/>
                <a:gd name="connsiteX183" fmla="*/ 3873175 w 6512821"/>
                <a:gd name="connsiteY183" fmla="*/ 985976 h 1648590"/>
                <a:gd name="connsiteX184" fmla="*/ 3507154 w 6512821"/>
                <a:gd name="connsiteY184" fmla="*/ 1638365 h 1648590"/>
                <a:gd name="connsiteX185" fmla="*/ 3382759 w 6512821"/>
                <a:gd name="connsiteY185" fmla="*/ 1638365 h 1648590"/>
                <a:gd name="connsiteX186" fmla="*/ 3382759 w 6512821"/>
                <a:gd name="connsiteY186" fmla="*/ 1376355 h 1648590"/>
                <a:gd name="connsiteX187" fmla="*/ 3300177 w 6512821"/>
                <a:gd name="connsiteY187" fmla="*/ 1264204 h 1648590"/>
                <a:gd name="connsiteX188" fmla="*/ 3216552 w 6512821"/>
                <a:gd name="connsiteY188" fmla="*/ 1373293 h 1648590"/>
                <a:gd name="connsiteX189" fmla="*/ 3216552 w 6512821"/>
                <a:gd name="connsiteY189" fmla="*/ 1638365 h 1648590"/>
                <a:gd name="connsiteX190" fmla="*/ 3092157 w 6512821"/>
                <a:gd name="connsiteY190" fmla="*/ 1638365 h 1648590"/>
                <a:gd name="connsiteX191" fmla="*/ 3092157 w 6512821"/>
                <a:gd name="connsiteY191" fmla="*/ 1157133 h 1648590"/>
                <a:gd name="connsiteX192" fmla="*/ 3216552 w 6512821"/>
                <a:gd name="connsiteY192" fmla="*/ 1157133 h 1648590"/>
                <a:gd name="connsiteX193" fmla="*/ 3216552 w 6512821"/>
                <a:gd name="connsiteY193" fmla="*/ 1189762 h 1648590"/>
                <a:gd name="connsiteX194" fmla="*/ 3333783 w 6512821"/>
                <a:gd name="connsiteY194" fmla="*/ 1146973 h 1648590"/>
                <a:gd name="connsiteX195" fmla="*/ 3507089 w 6512821"/>
                <a:gd name="connsiteY195" fmla="*/ 1366195 h 1648590"/>
                <a:gd name="connsiteX196" fmla="*/ 3507089 w 6512821"/>
                <a:gd name="connsiteY196" fmla="*/ 1638430 h 1648590"/>
                <a:gd name="connsiteX197" fmla="*/ 2792437 w 6512821"/>
                <a:gd name="connsiteY197" fmla="*/ 1146973 h 1648590"/>
                <a:gd name="connsiteX198" fmla="*/ 2567094 w 6512821"/>
                <a:gd name="connsiteY198" fmla="*/ 1397782 h 1648590"/>
                <a:gd name="connsiteX199" fmla="*/ 2792437 w 6512821"/>
                <a:gd name="connsiteY199" fmla="*/ 1648590 h 1648590"/>
                <a:gd name="connsiteX200" fmla="*/ 3017781 w 6512821"/>
                <a:gd name="connsiteY200" fmla="*/ 1397782 h 1648590"/>
                <a:gd name="connsiteX201" fmla="*/ 2792437 w 6512821"/>
                <a:gd name="connsiteY201" fmla="*/ 1146973 h 1648590"/>
                <a:gd name="connsiteX202" fmla="*/ 2792437 w 6512821"/>
                <a:gd name="connsiteY202" fmla="*/ 1528299 h 1648590"/>
                <a:gd name="connsiteX203" fmla="*/ 2695592 w 6512821"/>
                <a:gd name="connsiteY203" fmla="*/ 1397782 h 1648590"/>
                <a:gd name="connsiteX204" fmla="*/ 2792437 w 6512821"/>
                <a:gd name="connsiteY204" fmla="*/ 1266288 h 1648590"/>
                <a:gd name="connsiteX205" fmla="*/ 2889283 w 6512821"/>
                <a:gd name="connsiteY205" fmla="*/ 1397782 h 1648590"/>
                <a:gd name="connsiteX206" fmla="*/ 2792437 w 6512821"/>
                <a:gd name="connsiteY206" fmla="*/ 1528299 h 1648590"/>
                <a:gd name="connsiteX207" fmla="*/ 2446802 w 6512821"/>
                <a:gd name="connsiteY207" fmla="*/ 1467143 h 1648590"/>
                <a:gd name="connsiteX208" fmla="*/ 2526323 w 6512821"/>
                <a:gd name="connsiteY208" fmla="*/ 1542561 h 1648590"/>
                <a:gd name="connsiteX209" fmla="*/ 2334651 w 6512821"/>
                <a:gd name="connsiteY209" fmla="*/ 1648590 h 1648590"/>
                <a:gd name="connsiteX210" fmla="*/ 2106246 w 6512821"/>
                <a:gd name="connsiteY210" fmla="*/ 1398823 h 1648590"/>
                <a:gd name="connsiteX211" fmla="*/ 2336670 w 6512821"/>
                <a:gd name="connsiteY211" fmla="*/ 1146973 h 1648590"/>
                <a:gd name="connsiteX212" fmla="*/ 2525281 w 6512821"/>
                <a:gd name="connsiteY212" fmla="*/ 1250983 h 1648590"/>
                <a:gd name="connsiteX213" fmla="*/ 2443741 w 6512821"/>
                <a:gd name="connsiteY213" fmla="*/ 1333565 h 1648590"/>
                <a:gd name="connsiteX214" fmla="*/ 2335693 w 6512821"/>
                <a:gd name="connsiteY214" fmla="*/ 1266288 h 1648590"/>
                <a:gd name="connsiteX215" fmla="*/ 2234744 w 6512821"/>
                <a:gd name="connsiteY215" fmla="*/ 1396804 h 1648590"/>
                <a:gd name="connsiteX216" fmla="*/ 2336670 w 6512821"/>
                <a:gd name="connsiteY216" fmla="*/ 1528299 h 1648590"/>
                <a:gd name="connsiteX217" fmla="*/ 2446802 w 6512821"/>
                <a:gd name="connsiteY217" fmla="*/ 1467143 h 1648590"/>
                <a:gd name="connsiteX218" fmla="*/ 1803530 w 6512821"/>
                <a:gd name="connsiteY218" fmla="*/ 1638365 h 1648590"/>
                <a:gd name="connsiteX219" fmla="*/ 1679135 w 6512821"/>
                <a:gd name="connsiteY219" fmla="*/ 1638365 h 1648590"/>
                <a:gd name="connsiteX220" fmla="*/ 1679135 w 6512821"/>
                <a:gd name="connsiteY220" fmla="*/ 1376355 h 1648590"/>
                <a:gd name="connsiteX221" fmla="*/ 1596553 w 6512821"/>
                <a:gd name="connsiteY221" fmla="*/ 1264204 h 1648590"/>
                <a:gd name="connsiteX222" fmla="*/ 1511951 w 6512821"/>
                <a:gd name="connsiteY222" fmla="*/ 1373293 h 1648590"/>
                <a:gd name="connsiteX223" fmla="*/ 1511951 w 6512821"/>
                <a:gd name="connsiteY223" fmla="*/ 1638365 h 1648590"/>
                <a:gd name="connsiteX224" fmla="*/ 1387557 w 6512821"/>
                <a:gd name="connsiteY224" fmla="*/ 1638365 h 1648590"/>
                <a:gd name="connsiteX225" fmla="*/ 1387557 w 6512821"/>
                <a:gd name="connsiteY225" fmla="*/ 1031761 h 1648590"/>
                <a:gd name="connsiteX226" fmla="*/ 1511951 w 6512821"/>
                <a:gd name="connsiteY226" fmla="*/ 969564 h 1648590"/>
                <a:gd name="connsiteX227" fmla="*/ 1511951 w 6512821"/>
                <a:gd name="connsiteY227" fmla="*/ 1189762 h 1648590"/>
                <a:gd name="connsiteX228" fmla="*/ 1632243 w 6512821"/>
                <a:gd name="connsiteY228" fmla="*/ 1146973 h 1648590"/>
                <a:gd name="connsiteX229" fmla="*/ 1803530 w 6512821"/>
                <a:gd name="connsiteY229" fmla="*/ 1366195 h 1648590"/>
                <a:gd name="connsiteX230" fmla="*/ 1803530 w 6512821"/>
                <a:gd name="connsiteY230" fmla="*/ 1638430 h 1648590"/>
                <a:gd name="connsiteX231" fmla="*/ 1311031 w 6512821"/>
                <a:gd name="connsiteY231" fmla="*/ 1493650 h 1648590"/>
                <a:gd name="connsiteX232" fmla="*/ 1292665 w 6512821"/>
                <a:gd name="connsiteY232" fmla="*/ 1619022 h 1648590"/>
                <a:gd name="connsiteX233" fmla="*/ 1173350 w 6512821"/>
                <a:gd name="connsiteY233" fmla="*/ 1648590 h 1648590"/>
                <a:gd name="connsiteX234" fmla="*/ 1043875 w 6512821"/>
                <a:gd name="connsiteY234" fmla="*/ 1504852 h 1648590"/>
                <a:gd name="connsiteX235" fmla="*/ 1043875 w 6512821"/>
                <a:gd name="connsiteY235" fmla="*/ 1273387 h 1648590"/>
                <a:gd name="connsiteX236" fmla="*/ 960250 w 6512821"/>
                <a:gd name="connsiteY236" fmla="*/ 1273387 h 1648590"/>
                <a:gd name="connsiteX237" fmla="*/ 960250 w 6512821"/>
                <a:gd name="connsiteY237" fmla="*/ 1157133 h 1648590"/>
                <a:gd name="connsiteX238" fmla="*/ 1043875 w 6512821"/>
                <a:gd name="connsiteY238" fmla="*/ 1157133 h 1648590"/>
                <a:gd name="connsiteX239" fmla="*/ 1043875 w 6512821"/>
                <a:gd name="connsiteY239" fmla="*/ 1031761 h 1648590"/>
                <a:gd name="connsiteX240" fmla="*/ 1168270 w 6512821"/>
                <a:gd name="connsiteY240" fmla="*/ 969564 h 1648590"/>
                <a:gd name="connsiteX241" fmla="*/ 1168270 w 6512821"/>
                <a:gd name="connsiteY241" fmla="*/ 1157133 h 1648590"/>
                <a:gd name="connsiteX242" fmla="*/ 1308947 w 6512821"/>
                <a:gd name="connsiteY242" fmla="*/ 1157133 h 1648590"/>
                <a:gd name="connsiteX243" fmla="*/ 1308947 w 6512821"/>
                <a:gd name="connsiteY243" fmla="*/ 1273387 h 1648590"/>
                <a:gd name="connsiteX244" fmla="*/ 1168270 w 6512821"/>
                <a:gd name="connsiteY244" fmla="*/ 1273387 h 1648590"/>
                <a:gd name="connsiteX245" fmla="*/ 1168270 w 6512821"/>
                <a:gd name="connsiteY245" fmla="*/ 1471181 h 1648590"/>
                <a:gd name="connsiteX246" fmla="*/ 1214120 w 6512821"/>
                <a:gd name="connsiteY246" fmla="*/ 1529275 h 1648590"/>
                <a:gd name="connsiteX247" fmla="*/ 1310966 w 6512821"/>
                <a:gd name="connsiteY247" fmla="*/ 1493585 h 1648590"/>
                <a:gd name="connsiteX248" fmla="*/ 767666 w 6512821"/>
                <a:gd name="connsiteY248" fmla="*/ 1157198 h 1648590"/>
                <a:gd name="connsiteX249" fmla="*/ 767666 w 6512821"/>
                <a:gd name="connsiteY249" fmla="*/ 1638430 h 1648590"/>
                <a:gd name="connsiteX250" fmla="*/ 892061 w 6512821"/>
                <a:gd name="connsiteY250" fmla="*/ 1638430 h 1648590"/>
                <a:gd name="connsiteX251" fmla="*/ 892061 w 6512821"/>
                <a:gd name="connsiteY251" fmla="*/ 1157198 h 1648590"/>
                <a:gd name="connsiteX252" fmla="*/ 767666 w 6512821"/>
                <a:gd name="connsiteY252" fmla="*/ 1157198 h 1648590"/>
                <a:gd name="connsiteX253" fmla="*/ 702408 w 6512821"/>
                <a:gd name="connsiteY253" fmla="*/ 1157198 h 1648590"/>
                <a:gd name="connsiteX254" fmla="*/ 550529 w 6512821"/>
                <a:gd name="connsiteY254" fmla="*/ 1638430 h 1648590"/>
                <a:gd name="connsiteX255" fmla="*/ 436359 w 6512821"/>
                <a:gd name="connsiteY255" fmla="*/ 1638430 h 1648590"/>
                <a:gd name="connsiteX256" fmla="*/ 354819 w 6512821"/>
                <a:gd name="connsiteY256" fmla="*/ 1345809 h 1648590"/>
                <a:gd name="connsiteX257" fmla="*/ 272236 w 6512821"/>
                <a:gd name="connsiteY257" fmla="*/ 1638430 h 1648590"/>
                <a:gd name="connsiteX258" fmla="*/ 158066 w 6512821"/>
                <a:gd name="connsiteY258" fmla="*/ 1638430 h 1648590"/>
                <a:gd name="connsiteX259" fmla="*/ 7099 w 6512821"/>
                <a:gd name="connsiteY259" fmla="*/ 1157198 h 1648590"/>
                <a:gd name="connsiteX260" fmla="*/ 145757 w 6512821"/>
                <a:gd name="connsiteY260" fmla="*/ 1157198 h 1648590"/>
                <a:gd name="connsiteX261" fmla="*/ 218114 w 6512821"/>
                <a:gd name="connsiteY261" fmla="*/ 1436533 h 1648590"/>
                <a:gd name="connsiteX262" fmla="*/ 299655 w 6512821"/>
                <a:gd name="connsiteY262" fmla="*/ 1157198 h 1648590"/>
                <a:gd name="connsiteX263" fmla="*/ 412848 w 6512821"/>
                <a:gd name="connsiteY263" fmla="*/ 1157198 h 1648590"/>
                <a:gd name="connsiteX264" fmla="*/ 494388 w 6512821"/>
                <a:gd name="connsiteY264" fmla="*/ 1436533 h 1648590"/>
                <a:gd name="connsiteX265" fmla="*/ 567788 w 6512821"/>
                <a:gd name="connsiteY265" fmla="*/ 1157198 h 1648590"/>
                <a:gd name="connsiteX266" fmla="*/ 702343 w 6512821"/>
                <a:gd name="connsiteY266" fmla="*/ 1157198 h 1648590"/>
                <a:gd name="connsiteX267" fmla="*/ 4436990 w 6512821"/>
                <a:gd name="connsiteY267" fmla="*/ 16282 h 1648590"/>
                <a:gd name="connsiteX268" fmla="*/ 4436990 w 6512821"/>
                <a:gd name="connsiteY268" fmla="*/ 115147 h 1648590"/>
                <a:gd name="connsiteX269" fmla="*/ 4374792 w 6512821"/>
                <a:gd name="connsiteY269" fmla="*/ 104921 h 1648590"/>
                <a:gd name="connsiteX270" fmla="*/ 4322820 w 6512821"/>
                <a:gd name="connsiteY270" fmla="*/ 144715 h 1648590"/>
                <a:gd name="connsiteX271" fmla="*/ 4322820 w 6512821"/>
                <a:gd name="connsiteY271" fmla="*/ 186527 h 1648590"/>
                <a:gd name="connsiteX272" fmla="*/ 4404361 w 6512821"/>
                <a:gd name="connsiteY272" fmla="*/ 186527 h 1648590"/>
                <a:gd name="connsiteX273" fmla="*/ 4404361 w 6512821"/>
                <a:gd name="connsiteY273" fmla="*/ 302781 h 1648590"/>
                <a:gd name="connsiteX274" fmla="*/ 4322820 w 6512821"/>
                <a:gd name="connsiteY274" fmla="*/ 302781 h 1648590"/>
                <a:gd name="connsiteX275" fmla="*/ 4322820 w 6512821"/>
                <a:gd name="connsiteY275" fmla="*/ 667759 h 1648590"/>
                <a:gd name="connsiteX276" fmla="*/ 4202528 w 6512821"/>
                <a:gd name="connsiteY276" fmla="*/ 667759 h 1648590"/>
                <a:gd name="connsiteX277" fmla="*/ 4202528 w 6512821"/>
                <a:gd name="connsiteY277" fmla="*/ 302781 h 1648590"/>
                <a:gd name="connsiteX278" fmla="*/ 4143392 w 6512821"/>
                <a:gd name="connsiteY278" fmla="*/ 302781 h 1648590"/>
                <a:gd name="connsiteX279" fmla="*/ 4143392 w 6512821"/>
                <a:gd name="connsiteY279" fmla="*/ 186527 h 1648590"/>
                <a:gd name="connsiteX280" fmla="*/ 4202528 w 6512821"/>
                <a:gd name="connsiteY280" fmla="*/ 186527 h 1648590"/>
                <a:gd name="connsiteX281" fmla="*/ 4202528 w 6512821"/>
                <a:gd name="connsiteY281" fmla="*/ 128433 h 1648590"/>
                <a:gd name="connsiteX282" fmla="*/ 4348350 w 6512821"/>
                <a:gd name="connsiteY282" fmla="*/ 2019 h 1648590"/>
                <a:gd name="connsiteX283" fmla="*/ 4437055 w 6512821"/>
                <a:gd name="connsiteY283" fmla="*/ 16282 h 1648590"/>
                <a:gd name="connsiteX284" fmla="*/ 2957602 w 6512821"/>
                <a:gd name="connsiteY284" fmla="*/ 527083 h 1648590"/>
                <a:gd name="connsiteX285" fmla="*/ 2940278 w 6512821"/>
                <a:gd name="connsiteY285" fmla="*/ 649458 h 1648590"/>
                <a:gd name="connsiteX286" fmla="*/ 2843433 w 6512821"/>
                <a:gd name="connsiteY286" fmla="*/ 677984 h 1648590"/>
                <a:gd name="connsiteX287" fmla="*/ 2712916 w 6512821"/>
                <a:gd name="connsiteY287" fmla="*/ 535224 h 1648590"/>
                <a:gd name="connsiteX288" fmla="*/ 2712916 w 6512821"/>
                <a:gd name="connsiteY288" fmla="*/ 301739 h 1648590"/>
                <a:gd name="connsiteX289" fmla="*/ 2629291 w 6512821"/>
                <a:gd name="connsiteY289" fmla="*/ 301739 h 1648590"/>
                <a:gd name="connsiteX290" fmla="*/ 2629291 w 6512821"/>
                <a:gd name="connsiteY290" fmla="*/ 186527 h 1648590"/>
                <a:gd name="connsiteX291" fmla="*/ 2712916 w 6512821"/>
                <a:gd name="connsiteY291" fmla="*/ 186527 h 1648590"/>
                <a:gd name="connsiteX292" fmla="*/ 2712916 w 6512821"/>
                <a:gd name="connsiteY292" fmla="*/ 61155 h 1648590"/>
                <a:gd name="connsiteX293" fmla="*/ 2833208 w 6512821"/>
                <a:gd name="connsiteY293" fmla="*/ 0 h 1648590"/>
                <a:gd name="connsiteX294" fmla="*/ 2833208 w 6512821"/>
                <a:gd name="connsiteY294" fmla="*/ 186592 h 1648590"/>
                <a:gd name="connsiteX295" fmla="*/ 2945358 w 6512821"/>
                <a:gd name="connsiteY295" fmla="*/ 186592 h 1648590"/>
                <a:gd name="connsiteX296" fmla="*/ 2945358 w 6512821"/>
                <a:gd name="connsiteY296" fmla="*/ 301804 h 1648590"/>
                <a:gd name="connsiteX297" fmla="*/ 2833208 w 6512821"/>
                <a:gd name="connsiteY297" fmla="*/ 301804 h 1648590"/>
                <a:gd name="connsiteX298" fmla="*/ 2833208 w 6512821"/>
                <a:gd name="connsiteY298" fmla="*/ 503701 h 1648590"/>
                <a:gd name="connsiteX299" fmla="*/ 2880100 w 6512821"/>
                <a:gd name="connsiteY299" fmla="*/ 560819 h 1648590"/>
                <a:gd name="connsiteX300" fmla="*/ 2957602 w 6512821"/>
                <a:gd name="connsiteY300" fmla="*/ 527148 h 1648590"/>
                <a:gd name="connsiteX301" fmla="*/ 2397891 w 6512821"/>
                <a:gd name="connsiteY301" fmla="*/ 426134 h 1648590"/>
                <a:gd name="connsiteX302" fmla="*/ 2395872 w 6512821"/>
                <a:gd name="connsiteY302" fmla="*/ 467946 h 1648590"/>
                <a:gd name="connsiteX303" fmla="*/ 2114453 w 6512821"/>
                <a:gd name="connsiteY303" fmla="*/ 467946 h 1648590"/>
                <a:gd name="connsiteX304" fmla="*/ 2218462 w 6512821"/>
                <a:gd name="connsiteY304" fmla="*/ 562773 h 1648590"/>
                <a:gd name="connsiteX305" fmla="*/ 2301045 w 6512821"/>
                <a:gd name="connsiteY305" fmla="*/ 529102 h 1648590"/>
                <a:gd name="connsiteX306" fmla="*/ 2386689 w 6512821"/>
                <a:gd name="connsiteY306" fmla="*/ 601459 h 1648590"/>
                <a:gd name="connsiteX307" fmla="*/ 2210321 w 6512821"/>
                <a:gd name="connsiteY307" fmla="*/ 677919 h 1648590"/>
                <a:gd name="connsiteX308" fmla="*/ 1991100 w 6512821"/>
                <a:gd name="connsiteY308" fmla="*/ 429130 h 1648590"/>
                <a:gd name="connsiteX309" fmla="*/ 2205176 w 6512821"/>
                <a:gd name="connsiteY309" fmla="*/ 176302 h 1648590"/>
                <a:gd name="connsiteX310" fmla="*/ 2397891 w 6512821"/>
                <a:gd name="connsiteY310" fmla="*/ 426069 h 1648590"/>
                <a:gd name="connsiteX311" fmla="*/ 2116472 w 6512821"/>
                <a:gd name="connsiteY311" fmla="*/ 374162 h 1648590"/>
                <a:gd name="connsiteX312" fmla="*/ 2287759 w 6512821"/>
                <a:gd name="connsiteY312" fmla="*/ 374162 h 1648590"/>
                <a:gd name="connsiteX313" fmla="*/ 2199054 w 6512821"/>
                <a:gd name="connsiteY313" fmla="*/ 283438 h 1648590"/>
                <a:gd name="connsiteX314" fmla="*/ 2116472 w 6512821"/>
                <a:gd name="connsiteY314" fmla="*/ 374162 h 1648590"/>
                <a:gd name="connsiteX315" fmla="*/ 1933982 w 6512821"/>
                <a:gd name="connsiteY315" fmla="*/ 428218 h 1648590"/>
                <a:gd name="connsiteX316" fmla="*/ 1746413 w 6512821"/>
                <a:gd name="connsiteY316" fmla="*/ 677984 h 1648590"/>
                <a:gd name="connsiteX317" fmla="*/ 1639342 w 6512821"/>
                <a:gd name="connsiteY317" fmla="*/ 638191 h 1648590"/>
                <a:gd name="connsiteX318" fmla="*/ 1639342 w 6512821"/>
                <a:gd name="connsiteY318" fmla="*/ 784990 h 1648590"/>
                <a:gd name="connsiteX319" fmla="*/ 1519050 w 6512821"/>
                <a:gd name="connsiteY319" fmla="*/ 845169 h 1648590"/>
                <a:gd name="connsiteX320" fmla="*/ 1519050 w 6512821"/>
                <a:gd name="connsiteY320" fmla="*/ 186527 h 1648590"/>
                <a:gd name="connsiteX321" fmla="*/ 1639342 w 6512821"/>
                <a:gd name="connsiteY321" fmla="*/ 186527 h 1648590"/>
                <a:gd name="connsiteX322" fmla="*/ 1639342 w 6512821"/>
                <a:gd name="connsiteY322" fmla="*/ 219157 h 1648590"/>
                <a:gd name="connsiteX323" fmla="*/ 1748432 w 6512821"/>
                <a:gd name="connsiteY323" fmla="*/ 176367 h 1648590"/>
                <a:gd name="connsiteX324" fmla="*/ 1933982 w 6512821"/>
                <a:gd name="connsiteY324" fmla="*/ 428218 h 1648590"/>
                <a:gd name="connsiteX325" fmla="*/ 1809587 w 6512821"/>
                <a:gd name="connsiteY325" fmla="*/ 434340 h 1648590"/>
                <a:gd name="connsiteX326" fmla="*/ 1718864 w 6512821"/>
                <a:gd name="connsiteY326" fmla="*/ 292621 h 1648590"/>
                <a:gd name="connsiteX327" fmla="*/ 1639342 w 6512821"/>
                <a:gd name="connsiteY327" fmla="*/ 335410 h 1648590"/>
                <a:gd name="connsiteX328" fmla="*/ 1639342 w 6512821"/>
                <a:gd name="connsiteY328" fmla="*/ 518942 h 1648590"/>
                <a:gd name="connsiteX329" fmla="*/ 1726028 w 6512821"/>
                <a:gd name="connsiteY329" fmla="*/ 562773 h 1648590"/>
                <a:gd name="connsiteX330" fmla="*/ 1809652 w 6512821"/>
                <a:gd name="connsiteY330" fmla="*/ 434340 h 1648590"/>
                <a:gd name="connsiteX331" fmla="*/ 1435426 w 6512821"/>
                <a:gd name="connsiteY331" fmla="*/ 667825 h 1648590"/>
                <a:gd name="connsiteX332" fmla="*/ 1315134 w 6512821"/>
                <a:gd name="connsiteY332" fmla="*/ 667825 h 1648590"/>
                <a:gd name="connsiteX333" fmla="*/ 1315134 w 6512821"/>
                <a:gd name="connsiteY333" fmla="*/ 634153 h 1648590"/>
                <a:gd name="connsiteX334" fmla="*/ 1202983 w 6512821"/>
                <a:gd name="connsiteY334" fmla="*/ 677984 h 1648590"/>
                <a:gd name="connsiteX335" fmla="*/ 1033715 w 6512821"/>
                <a:gd name="connsiteY335" fmla="*/ 510800 h 1648590"/>
                <a:gd name="connsiteX336" fmla="*/ 1221284 w 6512821"/>
                <a:gd name="connsiteY336" fmla="*/ 348696 h 1648590"/>
                <a:gd name="connsiteX337" fmla="*/ 1315069 w 6512821"/>
                <a:gd name="connsiteY337" fmla="*/ 368040 h 1648590"/>
                <a:gd name="connsiteX338" fmla="*/ 1315069 w 6512821"/>
                <a:gd name="connsiteY338" fmla="*/ 342574 h 1648590"/>
                <a:gd name="connsiteX339" fmla="*/ 1232486 w 6512821"/>
                <a:gd name="connsiteY339" fmla="*/ 279335 h 1648590"/>
                <a:gd name="connsiteX340" fmla="*/ 1121378 w 6512821"/>
                <a:gd name="connsiteY340" fmla="*/ 310922 h 1648590"/>
                <a:gd name="connsiteX341" fmla="*/ 1073443 w 6512821"/>
                <a:gd name="connsiteY341" fmla="*/ 225278 h 1648590"/>
                <a:gd name="connsiteX342" fmla="*/ 1239650 w 6512821"/>
                <a:gd name="connsiteY342" fmla="*/ 176367 h 1648590"/>
                <a:gd name="connsiteX343" fmla="*/ 1435426 w 6512821"/>
                <a:gd name="connsiteY343" fmla="*/ 344593 h 1648590"/>
                <a:gd name="connsiteX344" fmla="*/ 1435426 w 6512821"/>
                <a:gd name="connsiteY344" fmla="*/ 667759 h 1648590"/>
                <a:gd name="connsiteX345" fmla="*/ 1315134 w 6512821"/>
                <a:gd name="connsiteY345" fmla="*/ 527083 h 1648590"/>
                <a:gd name="connsiteX346" fmla="*/ 1315134 w 6512821"/>
                <a:gd name="connsiteY346" fmla="*/ 465927 h 1648590"/>
                <a:gd name="connsiteX347" fmla="*/ 1234570 w 6512821"/>
                <a:gd name="connsiteY347" fmla="*/ 445542 h 1648590"/>
                <a:gd name="connsiteX348" fmla="*/ 1156091 w 6512821"/>
                <a:gd name="connsiteY348" fmla="*/ 507740 h 1648590"/>
                <a:gd name="connsiteX349" fmla="*/ 1224410 w 6512821"/>
                <a:gd name="connsiteY349" fmla="*/ 574040 h 1648590"/>
                <a:gd name="connsiteX350" fmla="*/ 1315134 w 6512821"/>
                <a:gd name="connsiteY350" fmla="*/ 527148 h 1648590"/>
                <a:gd name="connsiteX351" fmla="*/ 967480 w 6512821"/>
                <a:gd name="connsiteY351" fmla="*/ 667825 h 1648590"/>
                <a:gd name="connsiteX352" fmla="*/ 847188 w 6512821"/>
                <a:gd name="connsiteY352" fmla="*/ 667825 h 1648590"/>
                <a:gd name="connsiteX353" fmla="*/ 847188 w 6512821"/>
                <a:gd name="connsiteY353" fmla="*/ 405814 h 1648590"/>
                <a:gd name="connsiteX354" fmla="*/ 765647 w 6512821"/>
                <a:gd name="connsiteY354" fmla="*/ 292621 h 1648590"/>
                <a:gd name="connsiteX355" fmla="*/ 683065 w 6512821"/>
                <a:gd name="connsiteY355" fmla="*/ 402753 h 1648590"/>
                <a:gd name="connsiteX356" fmla="*/ 683065 w 6512821"/>
                <a:gd name="connsiteY356" fmla="*/ 667825 h 1648590"/>
                <a:gd name="connsiteX357" fmla="*/ 562773 w 6512821"/>
                <a:gd name="connsiteY357" fmla="*/ 667825 h 1648590"/>
                <a:gd name="connsiteX358" fmla="*/ 562773 w 6512821"/>
                <a:gd name="connsiteY358" fmla="*/ 61221 h 1648590"/>
                <a:gd name="connsiteX359" fmla="*/ 683065 w 6512821"/>
                <a:gd name="connsiteY359" fmla="*/ 65 h 1648590"/>
                <a:gd name="connsiteX360" fmla="*/ 683065 w 6512821"/>
                <a:gd name="connsiteY360" fmla="*/ 220264 h 1648590"/>
                <a:gd name="connsiteX361" fmla="*/ 796258 w 6512821"/>
                <a:gd name="connsiteY361" fmla="*/ 176432 h 1648590"/>
                <a:gd name="connsiteX362" fmla="*/ 967545 w 6512821"/>
                <a:gd name="connsiteY362" fmla="*/ 396631 h 1648590"/>
                <a:gd name="connsiteX363" fmla="*/ 967545 w 6512821"/>
                <a:gd name="connsiteY363" fmla="*/ 667825 h 1648590"/>
                <a:gd name="connsiteX364" fmla="*/ 496472 w 6512821"/>
                <a:gd name="connsiteY364" fmla="*/ 475110 h 1648590"/>
                <a:gd name="connsiteX365" fmla="*/ 255889 w 6512821"/>
                <a:gd name="connsiteY365" fmla="*/ 677984 h 1648590"/>
                <a:gd name="connsiteX366" fmla="*/ 0 w 6512821"/>
                <a:gd name="connsiteY366" fmla="*/ 562773 h 1648590"/>
                <a:gd name="connsiteX367" fmla="*/ 89747 w 6512821"/>
                <a:gd name="connsiteY367" fmla="*/ 483251 h 1648590"/>
                <a:gd name="connsiteX368" fmla="*/ 252893 w 6512821"/>
                <a:gd name="connsiteY368" fmla="*/ 556651 h 1648590"/>
                <a:gd name="connsiteX369" fmla="*/ 367063 w 6512821"/>
                <a:gd name="connsiteY369" fmla="*/ 478171 h 1648590"/>
                <a:gd name="connsiteX370" fmla="*/ 329353 w 6512821"/>
                <a:gd name="connsiteY370" fmla="*/ 426199 h 1648590"/>
                <a:gd name="connsiteX371" fmla="*/ 225344 w 6512821"/>
                <a:gd name="connsiteY371" fmla="*/ 394612 h 1648590"/>
                <a:gd name="connsiteX372" fmla="*/ 79522 w 6512821"/>
                <a:gd name="connsiteY372" fmla="*/ 335475 h 1648590"/>
                <a:gd name="connsiteX373" fmla="*/ 24488 w 6512821"/>
                <a:gd name="connsiteY373" fmla="*/ 207042 h 1648590"/>
                <a:gd name="connsiteX374" fmla="*/ 254912 w 6512821"/>
                <a:gd name="connsiteY374" fmla="*/ 16412 h 1648590"/>
                <a:gd name="connsiteX375" fmla="*/ 482274 w 6512821"/>
                <a:gd name="connsiteY375" fmla="*/ 115277 h 1648590"/>
                <a:gd name="connsiteX376" fmla="*/ 392528 w 6512821"/>
                <a:gd name="connsiteY376" fmla="*/ 202939 h 1648590"/>
                <a:gd name="connsiteX377" fmla="*/ 246706 w 6512821"/>
                <a:gd name="connsiteY377" fmla="*/ 137681 h 1648590"/>
                <a:gd name="connsiteX378" fmla="*/ 152921 w 6512821"/>
                <a:gd name="connsiteY378" fmla="*/ 199878 h 1648590"/>
                <a:gd name="connsiteX379" fmla="*/ 179428 w 6512821"/>
                <a:gd name="connsiteY379" fmla="*/ 243710 h 1648590"/>
                <a:gd name="connsiteX380" fmla="*/ 282396 w 6512821"/>
                <a:gd name="connsiteY380" fmla="*/ 277381 h 1648590"/>
                <a:gd name="connsiteX381" fmla="*/ 438378 w 6512821"/>
                <a:gd name="connsiteY381" fmla="*/ 341598 h 1648590"/>
                <a:gd name="connsiteX382" fmla="*/ 496472 w 6512821"/>
                <a:gd name="connsiteY382" fmla="*/ 475176 h 1648590"/>
                <a:gd name="connsiteX383" fmla="*/ 6100885 w 6512821"/>
                <a:gd name="connsiteY383" fmla="*/ 208996 h 1648590"/>
                <a:gd name="connsiteX384" fmla="*/ 6051778 w 6512821"/>
                <a:gd name="connsiteY384" fmla="*/ 329288 h 1648590"/>
                <a:gd name="connsiteX385" fmla="*/ 5982482 w 6512821"/>
                <a:gd name="connsiteY385" fmla="*/ 299720 h 1648590"/>
                <a:gd name="connsiteX386" fmla="*/ 5911232 w 6512821"/>
                <a:gd name="connsiteY386" fmla="*/ 405749 h 1648590"/>
                <a:gd name="connsiteX387" fmla="*/ 5911232 w 6512821"/>
                <a:gd name="connsiteY387" fmla="*/ 667759 h 1648590"/>
                <a:gd name="connsiteX388" fmla="*/ 5790940 w 6512821"/>
                <a:gd name="connsiteY388" fmla="*/ 667759 h 1648590"/>
                <a:gd name="connsiteX389" fmla="*/ 5790940 w 6512821"/>
                <a:gd name="connsiteY389" fmla="*/ 186527 h 1648590"/>
                <a:gd name="connsiteX390" fmla="*/ 5911232 w 6512821"/>
                <a:gd name="connsiteY390" fmla="*/ 186527 h 1648590"/>
                <a:gd name="connsiteX391" fmla="*/ 5911232 w 6512821"/>
                <a:gd name="connsiteY391" fmla="*/ 220198 h 1648590"/>
                <a:gd name="connsiteX392" fmla="*/ 6012181 w 6512821"/>
                <a:gd name="connsiteY392" fmla="*/ 176367 h 1648590"/>
                <a:gd name="connsiteX393" fmla="*/ 6100885 w 6512821"/>
                <a:gd name="connsiteY393" fmla="*/ 208996 h 1648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Lst>
              <a:rect l="l" t="t" r="r" b="b"/>
              <a:pathLst>
                <a:path w="6512821" h="1648590">
                  <a:moveTo>
                    <a:pt x="5071143" y="1396740"/>
                  </a:moveTo>
                  <a:cubicBezTo>
                    <a:pt x="5071143" y="1412045"/>
                    <a:pt x="5070101" y="1431388"/>
                    <a:pt x="5069124" y="1438552"/>
                  </a:cubicBezTo>
                  <a:lnTo>
                    <a:pt x="4777545" y="1438552"/>
                  </a:lnTo>
                  <a:cubicBezTo>
                    <a:pt x="4782625" y="1505829"/>
                    <a:pt x="4828541" y="1533378"/>
                    <a:pt x="4880513" y="1533378"/>
                  </a:cubicBezTo>
                  <a:cubicBezTo>
                    <a:pt x="4911123" y="1533378"/>
                    <a:pt x="4939649" y="1524196"/>
                    <a:pt x="4964137" y="1499707"/>
                  </a:cubicBezTo>
                  <a:lnTo>
                    <a:pt x="5049781" y="1572065"/>
                  </a:lnTo>
                  <a:cubicBezTo>
                    <a:pt x="5004908" y="1628140"/>
                    <a:pt x="4936588" y="1648525"/>
                    <a:pt x="4875433" y="1648525"/>
                  </a:cubicBezTo>
                  <a:cubicBezTo>
                    <a:pt x="4734756" y="1648525"/>
                    <a:pt x="4654192" y="1540478"/>
                    <a:pt x="4654192" y="1398759"/>
                  </a:cubicBezTo>
                  <a:cubicBezTo>
                    <a:pt x="4654192" y="1244795"/>
                    <a:pt x="4749019" y="1146908"/>
                    <a:pt x="4867292" y="1146908"/>
                  </a:cubicBezTo>
                  <a:cubicBezTo>
                    <a:pt x="4993706" y="1146908"/>
                    <a:pt x="5071208" y="1258016"/>
                    <a:pt x="5071208" y="1396675"/>
                  </a:cubicBezTo>
                  <a:close/>
                  <a:moveTo>
                    <a:pt x="4779564" y="1344767"/>
                  </a:moveTo>
                  <a:lnTo>
                    <a:pt x="4950851" y="1344767"/>
                  </a:lnTo>
                  <a:cubicBezTo>
                    <a:pt x="4946748" y="1290711"/>
                    <a:pt x="4912100" y="1254044"/>
                    <a:pt x="4863189" y="1254044"/>
                  </a:cubicBezTo>
                  <a:cubicBezTo>
                    <a:pt x="4805094" y="1254044"/>
                    <a:pt x="4782625" y="1305039"/>
                    <a:pt x="4779564" y="1344767"/>
                  </a:cubicBezTo>
                  <a:close/>
                  <a:moveTo>
                    <a:pt x="6512756" y="1396740"/>
                  </a:moveTo>
                  <a:cubicBezTo>
                    <a:pt x="6512756" y="1412045"/>
                    <a:pt x="6511714" y="1431388"/>
                    <a:pt x="6510737" y="1438552"/>
                  </a:cubicBezTo>
                  <a:lnTo>
                    <a:pt x="6219158" y="1438552"/>
                  </a:lnTo>
                  <a:cubicBezTo>
                    <a:pt x="6224238" y="1505829"/>
                    <a:pt x="6270154" y="1533378"/>
                    <a:pt x="6322126" y="1533378"/>
                  </a:cubicBezTo>
                  <a:cubicBezTo>
                    <a:pt x="6352736" y="1533378"/>
                    <a:pt x="6381262" y="1524196"/>
                    <a:pt x="6405751" y="1499707"/>
                  </a:cubicBezTo>
                  <a:lnTo>
                    <a:pt x="6491394" y="1572065"/>
                  </a:lnTo>
                  <a:cubicBezTo>
                    <a:pt x="6446521" y="1628140"/>
                    <a:pt x="6378201" y="1648525"/>
                    <a:pt x="6317046" y="1648525"/>
                  </a:cubicBezTo>
                  <a:cubicBezTo>
                    <a:pt x="6176369" y="1648525"/>
                    <a:pt x="6095805" y="1540478"/>
                    <a:pt x="6095805" y="1398759"/>
                  </a:cubicBezTo>
                  <a:cubicBezTo>
                    <a:pt x="6095805" y="1244795"/>
                    <a:pt x="6190632" y="1146908"/>
                    <a:pt x="6308905" y="1146908"/>
                  </a:cubicBezTo>
                  <a:cubicBezTo>
                    <a:pt x="6435319" y="1146908"/>
                    <a:pt x="6512821" y="1258016"/>
                    <a:pt x="6512821" y="1396675"/>
                  </a:cubicBezTo>
                  <a:close/>
                  <a:moveTo>
                    <a:pt x="6221177" y="1344767"/>
                  </a:moveTo>
                  <a:lnTo>
                    <a:pt x="6392465" y="1344767"/>
                  </a:lnTo>
                  <a:cubicBezTo>
                    <a:pt x="6388361" y="1290711"/>
                    <a:pt x="6353713" y="1254044"/>
                    <a:pt x="6304802" y="1254044"/>
                  </a:cubicBezTo>
                  <a:cubicBezTo>
                    <a:pt x="6246708" y="1254044"/>
                    <a:pt x="6224238" y="1305039"/>
                    <a:pt x="6221177" y="1344767"/>
                  </a:cubicBezTo>
                  <a:close/>
                  <a:moveTo>
                    <a:pt x="5978509" y="1467143"/>
                  </a:moveTo>
                  <a:lnTo>
                    <a:pt x="6058031" y="1542561"/>
                  </a:lnTo>
                  <a:cubicBezTo>
                    <a:pt x="6017261" y="1594534"/>
                    <a:pt x="5961185" y="1648590"/>
                    <a:pt x="5866359" y="1648590"/>
                  </a:cubicBezTo>
                  <a:cubicBezTo>
                    <a:pt x="5734865" y="1648590"/>
                    <a:pt x="5637954" y="1543604"/>
                    <a:pt x="5637954" y="1398823"/>
                  </a:cubicBezTo>
                  <a:cubicBezTo>
                    <a:pt x="5637954" y="1266288"/>
                    <a:pt x="5718518" y="1146973"/>
                    <a:pt x="5868378" y="1146973"/>
                  </a:cubicBezTo>
                  <a:cubicBezTo>
                    <a:pt x="5954021" y="1146973"/>
                    <a:pt x="6013157" y="1185724"/>
                    <a:pt x="6056989" y="1250983"/>
                  </a:cubicBezTo>
                  <a:lnTo>
                    <a:pt x="5975448" y="1333565"/>
                  </a:lnTo>
                  <a:cubicBezTo>
                    <a:pt x="5946922" y="1295856"/>
                    <a:pt x="5916312" y="1266288"/>
                    <a:pt x="5867401" y="1266288"/>
                  </a:cubicBezTo>
                  <a:cubicBezTo>
                    <a:pt x="5801100" y="1266288"/>
                    <a:pt x="5766452" y="1322363"/>
                    <a:pt x="5766452" y="1396804"/>
                  </a:cubicBezTo>
                  <a:cubicBezTo>
                    <a:pt x="5766452" y="1466101"/>
                    <a:pt x="5797062" y="1528299"/>
                    <a:pt x="5868378" y="1528299"/>
                  </a:cubicBezTo>
                  <a:cubicBezTo>
                    <a:pt x="5912209" y="1528299"/>
                    <a:pt x="5948941" y="1504852"/>
                    <a:pt x="5978509" y="1467143"/>
                  </a:cubicBezTo>
                  <a:close/>
                  <a:moveTo>
                    <a:pt x="4869246" y="667825"/>
                  </a:moveTo>
                  <a:lnTo>
                    <a:pt x="4750973" y="667825"/>
                  </a:lnTo>
                  <a:lnTo>
                    <a:pt x="4750973" y="634153"/>
                  </a:lnTo>
                  <a:cubicBezTo>
                    <a:pt x="4724466" y="663721"/>
                    <a:pt x="4681676" y="677984"/>
                    <a:pt x="4638822" y="677984"/>
                  </a:cubicBezTo>
                  <a:cubicBezTo>
                    <a:pt x="4514427" y="677984"/>
                    <a:pt x="4467535" y="588238"/>
                    <a:pt x="4467535" y="458763"/>
                  </a:cubicBezTo>
                  <a:lnTo>
                    <a:pt x="4467535" y="186527"/>
                  </a:lnTo>
                  <a:lnTo>
                    <a:pt x="4587827" y="186527"/>
                  </a:lnTo>
                  <a:lnTo>
                    <a:pt x="4587827" y="448538"/>
                  </a:lnTo>
                  <a:cubicBezTo>
                    <a:pt x="4587827" y="513797"/>
                    <a:pt x="4601113" y="562708"/>
                    <a:pt x="4668390" y="562708"/>
                  </a:cubicBezTo>
                  <a:cubicBezTo>
                    <a:pt x="4735668" y="562708"/>
                    <a:pt x="4748954" y="511712"/>
                    <a:pt x="4748954" y="452576"/>
                  </a:cubicBezTo>
                  <a:lnTo>
                    <a:pt x="4748954" y="186462"/>
                  </a:lnTo>
                  <a:lnTo>
                    <a:pt x="4869246" y="186462"/>
                  </a:lnTo>
                  <a:lnTo>
                    <a:pt x="4869246" y="667695"/>
                  </a:lnTo>
                  <a:close/>
                  <a:moveTo>
                    <a:pt x="5244449" y="527083"/>
                  </a:moveTo>
                  <a:lnTo>
                    <a:pt x="5227125" y="649458"/>
                  </a:lnTo>
                  <a:cubicBezTo>
                    <a:pt x="5202637" y="668802"/>
                    <a:pt x="5157829" y="677984"/>
                    <a:pt x="5128261" y="677984"/>
                  </a:cubicBezTo>
                  <a:cubicBezTo>
                    <a:pt x="5054861" y="677984"/>
                    <a:pt x="4997744" y="622951"/>
                    <a:pt x="4997744" y="535224"/>
                  </a:cubicBezTo>
                  <a:lnTo>
                    <a:pt x="4997744" y="301739"/>
                  </a:lnTo>
                  <a:lnTo>
                    <a:pt x="4928447" y="301739"/>
                  </a:lnTo>
                  <a:lnTo>
                    <a:pt x="4928447" y="186527"/>
                  </a:lnTo>
                  <a:lnTo>
                    <a:pt x="4997744" y="186527"/>
                  </a:lnTo>
                  <a:lnTo>
                    <a:pt x="4997744" y="61155"/>
                  </a:lnTo>
                  <a:lnTo>
                    <a:pt x="5118035" y="0"/>
                  </a:lnTo>
                  <a:lnTo>
                    <a:pt x="5118035" y="186592"/>
                  </a:lnTo>
                  <a:lnTo>
                    <a:pt x="5232205" y="186592"/>
                  </a:lnTo>
                  <a:lnTo>
                    <a:pt x="5232205" y="301804"/>
                  </a:lnTo>
                  <a:lnTo>
                    <a:pt x="5118035" y="301804"/>
                  </a:lnTo>
                  <a:lnTo>
                    <a:pt x="5118035" y="503701"/>
                  </a:lnTo>
                  <a:cubicBezTo>
                    <a:pt x="5118035" y="545514"/>
                    <a:pt x="5135360" y="560819"/>
                    <a:pt x="5164928" y="560819"/>
                  </a:cubicBezTo>
                  <a:cubicBezTo>
                    <a:pt x="5194496" y="560819"/>
                    <a:pt x="5225106" y="545514"/>
                    <a:pt x="5244449" y="527148"/>
                  </a:cubicBezTo>
                  <a:close/>
                  <a:moveTo>
                    <a:pt x="3417407" y="667825"/>
                  </a:moveTo>
                  <a:lnTo>
                    <a:pt x="3297116" y="667825"/>
                  </a:lnTo>
                  <a:lnTo>
                    <a:pt x="3297116" y="405814"/>
                  </a:lnTo>
                  <a:cubicBezTo>
                    <a:pt x="3297116" y="340555"/>
                    <a:pt x="3282853" y="292621"/>
                    <a:pt x="3215575" y="292621"/>
                  </a:cubicBezTo>
                  <a:cubicBezTo>
                    <a:pt x="3148298" y="292621"/>
                    <a:pt x="3132993" y="336452"/>
                    <a:pt x="3132993" y="402753"/>
                  </a:cubicBezTo>
                  <a:lnTo>
                    <a:pt x="3132993" y="667825"/>
                  </a:lnTo>
                  <a:lnTo>
                    <a:pt x="3012701" y="667825"/>
                  </a:lnTo>
                  <a:lnTo>
                    <a:pt x="3012701" y="61221"/>
                  </a:lnTo>
                  <a:lnTo>
                    <a:pt x="3132993" y="65"/>
                  </a:lnTo>
                  <a:lnTo>
                    <a:pt x="3132993" y="220264"/>
                  </a:lnTo>
                  <a:cubicBezTo>
                    <a:pt x="3159500" y="193756"/>
                    <a:pt x="3192129" y="176432"/>
                    <a:pt x="3246186" y="176432"/>
                  </a:cubicBezTo>
                  <a:cubicBezTo>
                    <a:pt x="3373641" y="176432"/>
                    <a:pt x="3417473" y="274320"/>
                    <a:pt x="3417473" y="396631"/>
                  </a:cubicBezTo>
                  <a:lnTo>
                    <a:pt x="3417473" y="667825"/>
                  </a:lnTo>
                  <a:close/>
                  <a:moveTo>
                    <a:pt x="5564554" y="1638365"/>
                  </a:moveTo>
                  <a:lnTo>
                    <a:pt x="5440160" y="1638365"/>
                  </a:lnTo>
                  <a:lnTo>
                    <a:pt x="5440160" y="1376355"/>
                  </a:lnTo>
                  <a:cubicBezTo>
                    <a:pt x="5440160" y="1309077"/>
                    <a:pt x="5424855" y="1264204"/>
                    <a:pt x="5357577" y="1264204"/>
                  </a:cubicBezTo>
                  <a:cubicBezTo>
                    <a:pt x="5294337" y="1264204"/>
                    <a:pt x="5273952" y="1301913"/>
                    <a:pt x="5273952" y="1373293"/>
                  </a:cubicBezTo>
                  <a:lnTo>
                    <a:pt x="5273952" y="1638365"/>
                  </a:lnTo>
                  <a:lnTo>
                    <a:pt x="5149558" y="1638365"/>
                  </a:lnTo>
                  <a:lnTo>
                    <a:pt x="5149558" y="1157133"/>
                  </a:lnTo>
                  <a:lnTo>
                    <a:pt x="5273952" y="1157133"/>
                  </a:lnTo>
                  <a:lnTo>
                    <a:pt x="5273952" y="1189762"/>
                  </a:lnTo>
                  <a:cubicBezTo>
                    <a:pt x="5299418" y="1164297"/>
                    <a:pt x="5337192" y="1146973"/>
                    <a:pt x="5391183" y="1146973"/>
                  </a:cubicBezTo>
                  <a:cubicBezTo>
                    <a:pt x="5521700" y="1146973"/>
                    <a:pt x="5564490" y="1247922"/>
                    <a:pt x="5564490" y="1366195"/>
                  </a:cubicBezTo>
                  <a:lnTo>
                    <a:pt x="5564490" y="1638430"/>
                  </a:lnTo>
                  <a:close/>
                  <a:moveTo>
                    <a:pt x="4008772" y="1115386"/>
                  </a:moveTo>
                  <a:cubicBezTo>
                    <a:pt x="4048565" y="1115386"/>
                    <a:pt x="4080152" y="1083798"/>
                    <a:pt x="4080152" y="1044005"/>
                  </a:cubicBezTo>
                  <a:cubicBezTo>
                    <a:pt x="4080152" y="1004212"/>
                    <a:pt x="4048565" y="972624"/>
                    <a:pt x="4008772" y="972624"/>
                  </a:cubicBezTo>
                  <a:cubicBezTo>
                    <a:pt x="3968978" y="972624"/>
                    <a:pt x="3937391" y="1004212"/>
                    <a:pt x="3937391" y="1044005"/>
                  </a:cubicBezTo>
                  <a:cubicBezTo>
                    <a:pt x="3937391" y="1083798"/>
                    <a:pt x="3968978" y="1115386"/>
                    <a:pt x="4008772" y="1115386"/>
                  </a:cubicBezTo>
                  <a:close/>
                  <a:moveTo>
                    <a:pt x="829864" y="1115386"/>
                  </a:moveTo>
                  <a:cubicBezTo>
                    <a:pt x="869657" y="1115386"/>
                    <a:pt x="901244" y="1083798"/>
                    <a:pt x="901244" y="1044005"/>
                  </a:cubicBezTo>
                  <a:cubicBezTo>
                    <a:pt x="901244" y="1004212"/>
                    <a:pt x="869657" y="972624"/>
                    <a:pt x="829864" y="972624"/>
                  </a:cubicBezTo>
                  <a:cubicBezTo>
                    <a:pt x="790070" y="972624"/>
                    <a:pt x="758483" y="1004212"/>
                    <a:pt x="758483" y="1044005"/>
                  </a:cubicBezTo>
                  <a:cubicBezTo>
                    <a:pt x="758483" y="1083798"/>
                    <a:pt x="790070" y="1115386"/>
                    <a:pt x="829864" y="1115386"/>
                  </a:cubicBezTo>
                  <a:close/>
                  <a:moveTo>
                    <a:pt x="6512756" y="426134"/>
                  </a:moveTo>
                  <a:cubicBezTo>
                    <a:pt x="6512756" y="441439"/>
                    <a:pt x="6511714" y="460782"/>
                    <a:pt x="6510737" y="467946"/>
                  </a:cubicBezTo>
                  <a:lnTo>
                    <a:pt x="6219158" y="467946"/>
                  </a:lnTo>
                  <a:cubicBezTo>
                    <a:pt x="6224238" y="535224"/>
                    <a:pt x="6270154" y="562773"/>
                    <a:pt x="6322126" y="562773"/>
                  </a:cubicBezTo>
                  <a:cubicBezTo>
                    <a:pt x="6352736" y="562773"/>
                    <a:pt x="6381262" y="553590"/>
                    <a:pt x="6405751" y="529102"/>
                  </a:cubicBezTo>
                  <a:lnTo>
                    <a:pt x="6491394" y="601459"/>
                  </a:lnTo>
                  <a:cubicBezTo>
                    <a:pt x="6446521" y="657535"/>
                    <a:pt x="6378201" y="677919"/>
                    <a:pt x="6317046" y="677919"/>
                  </a:cubicBezTo>
                  <a:cubicBezTo>
                    <a:pt x="6176369" y="677919"/>
                    <a:pt x="6095805" y="569872"/>
                    <a:pt x="6095805" y="428153"/>
                  </a:cubicBezTo>
                  <a:cubicBezTo>
                    <a:pt x="6095805" y="274190"/>
                    <a:pt x="6190632" y="176302"/>
                    <a:pt x="6308905" y="176302"/>
                  </a:cubicBezTo>
                  <a:cubicBezTo>
                    <a:pt x="6435319" y="176302"/>
                    <a:pt x="6512821" y="287411"/>
                    <a:pt x="6512821" y="426069"/>
                  </a:cubicBezTo>
                  <a:close/>
                  <a:moveTo>
                    <a:pt x="6221177" y="374162"/>
                  </a:moveTo>
                  <a:lnTo>
                    <a:pt x="6392465" y="374162"/>
                  </a:lnTo>
                  <a:cubicBezTo>
                    <a:pt x="6388361" y="320105"/>
                    <a:pt x="6353713" y="283438"/>
                    <a:pt x="6304802" y="283438"/>
                  </a:cubicBezTo>
                  <a:cubicBezTo>
                    <a:pt x="6246708" y="283438"/>
                    <a:pt x="6224238" y="334433"/>
                    <a:pt x="6221177" y="374162"/>
                  </a:cubicBezTo>
                  <a:close/>
                  <a:moveTo>
                    <a:pt x="5702235" y="667825"/>
                  </a:moveTo>
                  <a:lnTo>
                    <a:pt x="5583963" y="667825"/>
                  </a:lnTo>
                  <a:lnTo>
                    <a:pt x="5583963" y="634153"/>
                  </a:lnTo>
                  <a:cubicBezTo>
                    <a:pt x="5557456" y="663721"/>
                    <a:pt x="5514666" y="677984"/>
                    <a:pt x="5471812" y="677984"/>
                  </a:cubicBezTo>
                  <a:cubicBezTo>
                    <a:pt x="5347417" y="677984"/>
                    <a:pt x="5300525" y="588238"/>
                    <a:pt x="5300525" y="458763"/>
                  </a:cubicBezTo>
                  <a:lnTo>
                    <a:pt x="5300525" y="186527"/>
                  </a:lnTo>
                  <a:lnTo>
                    <a:pt x="5420817" y="186527"/>
                  </a:lnTo>
                  <a:lnTo>
                    <a:pt x="5420817" y="448538"/>
                  </a:lnTo>
                  <a:cubicBezTo>
                    <a:pt x="5420817" y="513797"/>
                    <a:pt x="5434103" y="562708"/>
                    <a:pt x="5501380" y="562708"/>
                  </a:cubicBezTo>
                  <a:cubicBezTo>
                    <a:pt x="5568657" y="562708"/>
                    <a:pt x="5581944" y="511712"/>
                    <a:pt x="5581944" y="452576"/>
                  </a:cubicBezTo>
                  <a:lnTo>
                    <a:pt x="5581944" y="186462"/>
                  </a:lnTo>
                  <a:lnTo>
                    <a:pt x="5702235" y="186462"/>
                  </a:lnTo>
                  <a:lnTo>
                    <a:pt x="5702235" y="667695"/>
                  </a:lnTo>
                  <a:close/>
                  <a:moveTo>
                    <a:pt x="3895579" y="426134"/>
                  </a:moveTo>
                  <a:cubicBezTo>
                    <a:pt x="3895579" y="441439"/>
                    <a:pt x="3894537" y="460782"/>
                    <a:pt x="3893560" y="467946"/>
                  </a:cubicBezTo>
                  <a:lnTo>
                    <a:pt x="3601981" y="467946"/>
                  </a:lnTo>
                  <a:cubicBezTo>
                    <a:pt x="3607061" y="535224"/>
                    <a:pt x="3652976" y="562773"/>
                    <a:pt x="3704949" y="562773"/>
                  </a:cubicBezTo>
                  <a:cubicBezTo>
                    <a:pt x="3735559" y="562773"/>
                    <a:pt x="3764085" y="553590"/>
                    <a:pt x="3788573" y="529102"/>
                  </a:cubicBezTo>
                  <a:lnTo>
                    <a:pt x="3874217" y="601459"/>
                  </a:lnTo>
                  <a:cubicBezTo>
                    <a:pt x="3829343" y="657535"/>
                    <a:pt x="3761024" y="677919"/>
                    <a:pt x="3699868" y="677919"/>
                  </a:cubicBezTo>
                  <a:cubicBezTo>
                    <a:pt x="3559192" y="677919"/>
                    <a:pt x="3478628" y="569872"/>
                    <a:pt x="3478628" y="428153"/>
                  </a:cubicBezTo>
                  <a:cubicBezTo>
                    <a:pt x="3478628" y="274190"/>
                    <a:pt x="3573455" y="176302"/>
                    <a:pt x="3691727" y="176302"/>
                  </a:cubicBezTo>
                  <a:cubicBezTo>
                    <a:pt x="3818141" y="176302"/>
                    <a:pt x="3895644" y="287411"/>
                    <a:pt x="3895644" y="426069"/>
                  </a:cubicBezTo>
                  <a:close/>
                  <a:moveTo>
                    <a:pt x="3604000" y="374162"/>
                  </a:moveTo>
                  <a:lnTo>
                    <a:pt x="3775287" y="374162"/>
                  </a:lnTo>
                  <a:cubicBezTo>
                    <a:pt x="3771184" y="320105"/>
                    <a:pt x="3736536" y="283438"/>
                    <a:pt x="3687624" y="283438"/>
                  </a:cubicBezTo>
                  <a:cubicBezTo>
                    <a:pt x="3629530" y="283438"/>
                    <a:pt x="3607061" y="334433"/>
                    <a:pt x="3604000" y="374162"/>
                  </a:cubicBezTo>
                  <a:close/>
                  <a:moveTo>
                    <a:pt x="4579686" y="1638365"/>
                  </a:moveTo>
                  <a:lnTo>
                    <a:pt x="4455291" y="1638365"/>
                  </a:lnTo>
                  <a:lnTo>
                    <a:pt x="4455291" y="1606778"/>
                  </a:lnTo>
                  <a:cubicBezTo>
                    <a:pt x="4414521" y="1636346"/>
                    <a:pt x="4390032" y="1648590"/>
                    <a:pt x="4346201" y="1648590"/>
                  </a:cubicBezTo>
                  <a:cubicBezTo>
                    <a:pt x="4207543" y="1648590"/>
                    <a:pt x="4148406" y="1528299"/>
                    <a:pt x="4148406" y="1393678"/>
                  </a:cubicBezTo>
                  <a:cubicBezTo>
                    <a:pt x="4148406" y="1247856"/>
                    <a:pt x="4217703" y="1146973"/>
                    <a:pt x="4343140" y="1146973"/>
                  </a:cubicBezTo>
                  <a:cubicBezTo>
                    <a:pt x="4384952" y="1146973"/>
                    <a:pt x="4424681" y="1158175"/>
                    <a:pt x="4455291" y="1185724"/>
                  </a:cubicBezTo>
                  <a:lnTo>
                    <a:pt x="4455291" y="1031761"/>
                  </a:lnTo>
                  <a:lnTo>
                    <a:pt x="4579686" y="969564"/>
                  </a:lnTo>
                  <a:lnTo>
                    <a:pt x="4579686" y="1638365"/>
                  </a:lnTo>
                  <a:close/>
                  <a:moveTo>
                    <a:pt x="4455356" y="1489547"/>
                  </a:moveTo>
                  <a:lnTo>
                    <a:pt x="4455356" y="1306016"/>
                  </a:lnTo>
                  <a:cubicBezTo>
                    <a:pt x="4428849" y="1277490"/>
                    <a:pt x="4403384" y="1264204"/>
                    <a:pt x="4368670" y="1264204"/>
                  </a:cubicBezTo>
                  <a:cubicBezTo>
                    <a:pt x="4296313" y="1264204"/>
                    <a:pt x="4278924" y="1321321"/>
                    <a:pt x="4278924" y="1389575"/>
                  </a:cubicBezTo>
                  <a:cubicBezTo>
                    <a:pt x="4278924" y="1467078"/>
                    <a:pt x="4301328" y="1531294"/>
                    <a:pt x="4371731" y="1531294"/>
                  </a:cubicBezTo>
                  <a:cubicBezTo>
                    <a:pt x="4406380" y="1531294"/>
                    <a:pt x="4430868" y="1515989"/>
                    <a:pt x="4455356" y="1489482"/>
                  </a:cubicBezTo>
                  <a:close/>
                  <a:moveTo>
                    <a:pt x="3945532" y="1157198"/>
                  </a:moveTo>
                  <a:lnTo>
                    <a:pt x="3945532" y="1638430"/>
                  </a:lnTo>
                  <a:lnTo>
                    <a:pt x="4069927" y="1638430"/>
                  </a:lnTo>
                  <a:lnTo>
                    <a:pt x="4069927" y="1157198"/>
                  </a:lnTo>
                  <a:lnTo>
                    <a:pt x="3945532" y="1157198"/>
                  </a:lnTo>
                  <a:close/>
                  <a:moveTo>
                    <a:pt x="3873175" y="985911"/>
                  </a:moveTo>
                  <a:lnTo>
                    <a:pt x="3873175" y="1085817"/>
                  </a:lnTo>
                  <a:cubicBezTo>
                    <a:pt x="3854809" y="1079695"/>
                    <a:pt x="3830386" y="1076634"/>
                    <a:pt x="3812019" y="1076634"/>
                  </a:cubicBezTo>
                  <a:cubicBezTo>
                    <a:pt x="3776329" y="1076634"/>
                    <a:pt x="3760047" y="1087836"/>
                    <a:pt x="3760047" y="1118447"/>
                  </a:cubicBezTo>
                  <a:lnTo>
                    <a:pt x="3760047" y="1157198"/>
                  </a:lnTo>
                  <a:lnTo>
                    <a:pt x="3863015" y="1157198"/>
                  </a:lnTo>
                  <a:lnTo>
                    <a:pt x="3863015" y="1273452"/>
                  </a:lnTo>
                  <a:lnTo>
                    <a:pt x="3760047" y="1273452"/>
                  </a:lnTo>
                  <a:lnTo>
                    <a:pt x="3760047" y="1638430"/>
                  </a:lnTo>
                  <a:lnTo>
                    <a:pt x="3635652" y="1638430"/>
                  </a:lnTo>
                  <a:lnTo>
                    <a:pt x="3635652" y="1273452"/>
                  </a:lnTo>
                  <a:lnTo>
                    <a:pt x="3568375" y="1273452"/>
                  </a:lnTo>
                  <a:lnTo>
                    <a:pt x="3568375" y="1157198"/>
                  </a:lnTo>
                  <a:lnTo>
                    <a:pt x="3635652" y="1157198"/>
                  </a:lnTo>
                  <a:lnTo>
                    <a:pt x="3635652" y="1099104"/>
                  </a:lnTo>
                  <a:cubicBezTo>
                    <a:pt x="3635652" y="1009357"/>
                    <a:pt x="3691727" y="972690"/>
                    <a:pt x="3782451" y="972690"/>
                  </a:cubicBezTo>
                  <a:cubicBezTo>
                    <a:pt x="3808958" y="972690"/>
                    <a:pt x="3847710" y="975751"/>
                    <a:pt x="3873175" y="985976"/>
                  </a:cubicBezTo>
                  <a:close/>
                  <a:moveTo>
                    <a:pt x="3507154" y="1638365"/>
                  </a:moveTo>
                  <a:lnTo>
                    <a:pt x="3382759" y="1638365"/>
                  </a:lnTo>
                  <a:lnTo>
                    <a:pt x="3382759" y="1376355"/>
                  </a:lnTo>
                  <a:cubicBezTo>
                    <a:pt x="3382759" y="1309077"/>
                    <a:pt x="3367454" y="1264204"/>
                    <a:pt x="3300177" y="1264204"/>
                  </a:cubicBezTo>
                  <a:cubicBezTo>
                    <a:pt x="3236937" y="1264204"/>
                    <a:pt x="3216552" y="1301913"/>
                    <a:pt x="3216552" y="1373293"/>
                  </a:cubicBezTo>
                  <a:lnTo>
                    <a:pt x="3216552" y="1638365"/>
                  </a:lnTo>
                  <a:lnTo>
                    <a:pt x="3092157" y="1638365"/>
                  </a:lnTo>
                  <a:lnTo>
                    <a:pt x="3092157" y="1157133"/>
                  </a:lnTo>
                  <a:lnTo>
                    <a:pt x="3216552" y="1157133"/>
                  </a:lnTo>
                  <a:lnTo>
                    <a:pt x="3216552" y="1189762"/>
                  </a:lnTo>
                  <a:cubicBezTo>
                    <a:pt x="3242017" y="1164297"/>
                    <a:pt x="3279792" y="1146973"/>
                    <a:pt x="3333783" y="1146973"/>
                  </a:cubicBezTo>
                  <a:cubicBezTo>
                    <a:pt x="3464300" y="1146973"/>
                    <a:pt x="3507089" y="1247922"/>
                    <a:pt x="3507089" y="1366195"/>
                  </a:cubicBezTo>
                  <a:lnTo>
                    <a:pt x="3507089" y="1638430"/>
                  </a:lnTo>
                  <a:close/>
                  <a:moveTo>
                    <a:pt x="2792437" y="1146973"/>
                  </a:moveTo>
                  <a:cubicBezTo>
                    <a:pt x="2653779" y="1146973"/>
                    <a:pt x="2567094" y="1256063"/>
                    <a:pt x="2567094" y="1397782"/>
                  </a:cubicBezTo>
                  <a:cubicBezTo>
                    <a:pt x="2567094" y="1546665"/>
                    <a:pt x="2661920" y="1648590"/>
                    <a:pt x="2792437" y="1648590"/>
                  </a:cubicBezTo>
                  <a:cubicBezTo>
                    <a:pt x="2922954" y="1648590"/>
                    <a:pt x="3017781" y="1546665"/>
                    <a:pt x="3017781" y="1397782"/>
                  </a:cubicBezTo>
                  <a:cubicBezTo>
                    <a:pt x="3017781" y="1248899"/>
                    <a:pt x="2931095" y="1146973"/>
                    <a:pt x="2792437" y="1146973"/>
                  </a:cubicBezTo>
                  <a:close/>
                  <a:moveTo>
                    <a:pt x="2792437" y="1528299"/>
                  </a:moveTo>
                  <a:cubicBezTo>
                    <a:pt x="2712916" y="1528299"/>
                    <a:pt x="2695592" y="1451838"/>
                    <a:pt x="2695592" y="1397782"/>
                  </a:cubicBezTo>
                  <a:cubicBezTo>
                    <a:pt x="2695592" y="1323340"/>
                    <a:pt x="2726202" y="1266288"/>
                    <a:pt x="2792437" y="1266288"/>
                  </a:cubicBezTo>
                  <a:cubicBezTo>
                    <a:pt x="2858673" y="1266288"/>
                    <a:pt x="2889283" y="1323405"/>
                    <a:pt x="2889283" y="1397782"/>
                  </a:cubicBezTo>
                  <a:cubicBezTo>
                    <a:pt x="2889283" y="1451838"/>
                    <a:pt x="2871959" y="1528299"/>
                    <a:pt x="2792437" y="1528299"/>
                  </a:cubicBezTo>
                  <a:close/>
                  <a:moveTo>
                    <a:pt x="2446802" y="1467143"/>
                  </a:moveTo>
                  <a:lnTo>
                    <a:pt x="2526323" y="1542561"/>
                  </a:lnTo>
                  <a:cubicBezTo>
                    <a:pt x="2485553" y="1594534"/>
                    <a:pt x="2429478" y="1648590"/>
                    <a:pt x="2334651" y="1648590"/>
                  </a:cubicBezTo>
                  <a:cubicBezTo>
                    <a:pt x="2203157" y="1648590"/>
                    <a:pt x="2106246" y="1543604"/>
                    <a:pt x="2106246" y="1398823"/>
                  </a:cubicBezTo>
                  <a:cubicBezTo>
                    <a:pt x="2106246" y="1266288"/>
                    <a:pt x="2186810" y="1146973"/>
                    <a:pt x="2336670" y="1146973"/>
                  </a:cubicBezTo>
                  <a:cubicBezTo>
                    <a:pt x="2422314" y="1146973"/>
                    <a:pt x="2481450" y="1185724"/>
                    <a:pt x="2525281" y="1250983"/>
                  </a:cubicBezTo>
                  <a:lnTo>
                    <a:pt x="2443741" y="1333565"/>
                  </a:lnTo>
                  <a:cubicBezTo>
                    <a:pt x="2415215" y="1295856"/>
                    <a:pt x="2384604" y="1266288"/>
                    <a:pt x="2335693" y="1266288"/>
                  </a:cubicBezTo>
                  <a:cubicBezTo>
                    <a:pt x="2269393" y="1266288"/>
                    <a:pt x="2234744" y="1322363"/>
                    <a:pt x="2234744" y="1396804"/>
                  </a:cubicBezTo>
                  <a:cubicBezTo>
                    <a:pt x="2234744" y="1466101"/>
                    <a:pt x="2265355" y="1528299"/>
                    <a:pt x="2336670" y="1528299"/>
                  </a:cubicBezTo>
                  <a:cubicBezTo>
                    <a:pt x="2380501" y="1528299"/>
                    <a:pt x="2417234" y="1504852"/>
                    <a:pt x="2446802" y="1467143"/>
                  </a:cubicBezTo>
                  <a:close/>
                  <a:moveTo>
                    <a:pt x="1803530" y="1638365"/>
                  </a:moveTo>
                  <a:lnTo>
                    <a:pt x="1679135" y="1638365"/>
                  </a:lnTo>
                  <a:lnTo>
                    <a:pt x="1679135" y="1376355"/>
                  </a:lnTo>
                  <a:cubicBezTo>
                    <a:pt x="1679135" y="1309077"/>
                    <a:pt x="1663830" y="1264204"/>
                    <a:pt x="1596553" y="1264204"/>
                  </a:cubicBezTo>
                  <a:cubicBezTo>
                    <a:pt x="1533314" y="1264204"/>
                    <a:pt x="1511951" y="1301913"/>
                    <a:pt x="1511951" y="1373293"/>
                  </a:cubicBezTo>
                  <a:lnTo>
                    <a:pt x="1511951" y="1638365"/>
                  </a:lnTo>
                  <a:lnTo>
                    <a:pt x="1387557" y="1638365"/>
                  </a:lnTo>
                  <a:lnTo>
                    <a:pt x="1387557" y="1031761"/>
                  </a:lnTo>
                  <a:lnTo>
                    <a:pt x="1511951" y="969564"/>
                  </a:lnTo>
                  <a:lnTo>
                    <a:pt x="1511951" y="1189762"/>
                  </a:lnTo>
                  <a:cubicBezTo>
                    <a:pt x="1535398" y="1161236"/>
                    <a:pt x="1584309" y="1146973"/>
                    <a:pt x="1632243" y="1146973"/>
                  </a:cubicBezTo>
                  <a:cubicBezTo>
                    <a:pt x="1758657" y="1146973"/>
                    <a:pt x="1803530" y="1246880"/>
                    <a:pt x="1803530" y="1366195"/>
                  </a:cubicBezTo>
                  <a:lnTo>
                    <a:pt x="1803530" y="1638430"/>
                  </a:lnTo>
                  <a:close/>
                  <a:moveTo>
                    <a:pt x="1311031" y="1493650"/>
                  </a:moveTo>
                  <a:lnTo>
                    <a:pt x="1292665" y="1619022"/>
                  </a:lnTo>
                  <a:cubicBezTo>
                    <a:pt x="1267200" y="1639407"/>
                    <a:pt x="1205979" y="1648590"/>
                    <a:pt x="1173350" y="1648590"/>
                  </a:cubicBezTo>
                  <a:cubicBezTo>
                    <a:pt x="1097931" y="1648590"/>
                    <a:pt x="1043875" y="1588412"/>
                    <a:pt x="1043875" y="1504852"/>
                  </a:cubicBezTo>
                  <a:lnTo>
                    <a:pt x="1043875" y="1273387"/>
                  </a:lnTo>
                  <a:lnTo>
                    <a:pt x="960250" y="1273387"/>
                  </a:lnTo>
                  <a:lnTo>
                    <a:pt x="960250" y="1157133"/>
                  </a:lnTo>
                  <a:lnTo>
                    <a:pt x="1043875" y="1157133"/>
                  </a:lnTo>
                  <a:lnTo>
                    <a:pt x="1043875" y="1031761"/>
                  </a:lnTo>
                  <a:lnTo>
                    <a:pt x="1168270" y="969564"/>
                  </a:lnTo>
                  <a:lnTo>
                    <a:pt x="1168270" y="1157133"/>
                  </a:lnTo>
                  <a:lnTo>
                    <a:pt x="1308947" y="1157133"/>
                  </a:lnTo>
                  <a:lnTo>
                    <a:pt x="1308947" y="1273387"/>
                  </a:lnTo>
                  <a:lnTo>
                    <a:pt x="1168270" y="1273387"/>
                  </a:lnTo>
                  <a:lnTo>
                    <a:pt x="1168270" y="1471181"/>
                  </a:lnTo>
                  <a:cubicBezTo>
                    <a:pt x="1168270" y="1515012"/>
                    <a:pt x="1184552" y="1529275"/>
                    <a:pt x="1214120" y="1529275"/>
                  </a:cubicBezTo>
                  <a:cubicBezTo>
                    <a:pt x="1243688" y="1529275"/>
                    <a:pt x="1289539" y="1513970"/>
                    <a:pt x="1310966" y="1493585"/>
                  </a:cubicBezTo>
                  <a:close/>
                  <a:moveTo>
                    <a:pt x="767666" y="1157198"/>
                  </a:moveTo>
                  <a:lnTo>
                    <a:pt x="767666" y="1638430"/>
                  </a:lnTo>
                  <a:lnTo>
                    <a:pt x="892061" y="1638430"/>
                  </a:lnTo>
                  <a:lnTo>
                    <a:pt x="892061" y="1157198"/>
                  </a:lnTo>
                  <a:lnTo>
                    <a:pt x="767666" y="1157198"/>
                  </a:lnTo>
                  <a:close/>
                  <a:moveTo>
                    <a:pt x="702408" y="1157198"/>
                  </a:moveTo>
                  <a:lnTo>
                    <a:pt x="550529" y="1638430"/>
                  </a:lnTo>
                  <a:lnTo>
                    <a:pt x="436359" y="1638430"/>
                  </a:lnTo>
                  <a:lnTo>
                    <a:pt x="354819" y="1345809"/>
                  </a:lnTo>
                  <a:lnTo>
                    <a:pt x="272236" y="1638430"/>
                  </a:lnTo>
                  <a:lnTo>
                    <a:pt x="158066" y="1638430"/>
                  </a:lnTo>
                  <a:lnTo>
                    <a:pt x="7099" y="1157198"/>
                  </a:lnTo>
                  <a:lnTo>
                    <a:pt x="145757" y="1157198"/>
                  </a:lnTo>
                  <a:lnTo>
                    <a:pt x="218114" y="1436533"/>
                  </a:lnTo>
                  <a:lnTo>
                    <a:pt x="299655" y="1157198"/>
                  </a:lnTo>
                  <a:lnTo>
                    <a:pt x="412848" y="1157198"/>
                  </a:lnTo>
                  <a:lnTo>
                    <a:pt x="494388" y="1436533"/>
                  </a:lnTo>
                  <a:lnTo>
                    <a:pt x="567788" y="1157198"/>
                  </a:lnTo>
                  <a:lnTo>
                    <a:pt x="702343" y="1157198"/>
                  </a:lnTo>
                  <a:close/>
                  <a:moveTo>
                    <a:pt x="4436990" y="16282"/>
                  </a:moveTo>
                  <a:lnTo>
                    <a:pt x="4436990" y="115147"/>
                  </a:lnTo>
                  <a:cubicBezTo>
                    <a:pt x="4409441" y="107983"/>
                    <a:pt x="4391139" y="104921"/>
                    <a:pt x="4374792" y="104921"/>
                  </a:cubicBezTo>
                  <a:cubicBezTo>
                    <a:pt x="4332003" y="104921"/>
                    <a:pt x="4322820" y="120227"/>
                    <a:pt x="4322820" y="144715"/>
                  </a:cubicBezTo>
                  <a:lnTo>
                    <a:pt x="4322820" y="186527"/>
                  </a:lnTo>
                  <a:lnTo>
                    <a:pt x="4404361" y="186527"/>
                  </a:lnTo>
                  <a:lnTo>
                    <a:pt x="4404361" y="302781"/>
                  </a:lnTo>
                  <a:lnTo>
                    <a:pt x="4322820" y="302781"/>
                  </a:lnTo>
                  <a:lnTo>
                    <a:pt x="4322820" y="667759"/>
                  </a:lnTo>
                  <a:lnTo>
                    <a:pt x="4202528" y="667759"/>
                  </a:lnTo>
                  <a:lnTo>
                    <a:pt x="4202528" y="302781"/>
                  </a:lnTo>
                  <a:lnTo>
                    <a:pt x="4143392" y="302781"/>
                  </a:lnTo>
                  <a:lnTo>
                    <a:pt x="4143392" y="186527"/>
                  </a:lnTo>
                  <a:lnTo>
                    <a:pt x="4202528" y="186527"/>
                  </a:lnTo>
                  <a:lnTo>
                    <a:pt x="4202528" y="128433"/>
                  </a:lnTo>
                  <a:cubicBezTo>
                    <a:pt x="4202528" y="44808"/>
                    <a:pt x="4246360" y="2019"/>
                    <a:pt x="4348350" y="2019"/>
                  </a:cubicBezTo>
                  <a:cubicBezTo>
                    <a:pt x="4380980" y="2019"/>
                    <a:pt x="4407487" y="8141"/>
                    <a:pt x="4437055" y="16282"/>
                  </a:cubicBezTo>
                  <a:close/>
                  <a:moveTo>
                    <a:pt x="2957602" y="527083"/>
                  </a:moveTo>
                  <a:lnTo>
                    <a:pt x="2940278" y="649458"/>
                  </a:lnTo>
                  <a:cubicBezTo>
                    <a:pt x="2915790" y="668802"/>
                    <a:pt x="2873001" y="677984"/>
                    <a:pt x="2843433" y="677984"/>
                  </a:cubicBezTo>
                  <a:cubicBezTo>
                    <a:pt x="2770033" y="677984"/>
                    <a:pt x="2712916" y="622951"/>
                    <a:pt x="2712916" y="535224"/>
                  </a:cubicBezTo>
                  <a:lnTo>
                    <a:pt x="2712916" y="301739"/>
                  </a:lnTo>
                  <a:lnTo>
                    <a:pt x="2629291" y="301739"/>
                  </a:lnTo>
                  <a:lnTo>
                    <a:pt x="2629291" y="186527"/>
                  </a:lnTo>
                  <a:lnTo>
                    <a:pt x="2712916" y="186527"/>
                  </a:lnTo>
                  <a:lnTo>
                    <a:pt x="2712916" y="61155"/>
                  </a:lnTo>
                  <a:lnTo>
                    <a:pt x="2833208" y="0"/>
                  </a:lnTo>
                  <a:lnTo>
                    <a:pt x="2833208" y="186592"/>
                  </a:lnTo>
                  <a:lnTo>
                    <a:pt x="2945358" y="186592"/>
                  </a:lnTo>
                  <a:lnTo>
                    <a:pt x="2945358" y="301804"/>
                  </a:lnTo>
                  <a:lnTo>
                    <a:pt x="2833208" y="301804"/>
                  </a:lnTo>
                  <a:lnTo>
                    <a:pt x="2833208" y="503701"/>
                  </a:lnTo>
                  <a:cubicBezTo>
                    <a:pt x="2833208" y="545514"/>
                    <a:pt x="2850532" y="560819"/>
                    <a:pt x="2880100" y="560819"/>
                  </a:cubicBezTo>
                  <a:cubicBezTo>
                    <a:pt x="2909668" y="560819"/>
                    <a:pt x="2938194" y="545514"/>
                    <a:pt x="2957602" y="527148"/>
                  </a:cubicBezTo>
                  <a:close/>
                  <a:moveTo>
                    <a:pt x="2397891" y="426134"/>
                  </a:moveTo>
                  <a:cubicBezTo>
                    <a:pt x="2397891" y="441439"/>
                    <a:pt x="2396849" y="460782"/>
                    <a:pt x="2395872" y="467946"/>
                  </a:cubicBezTo>
                  <a:lnTo>
                    <a:pt x="2114453" y="467946"/>
                  </a:lnTo>
                  <a:cubicBezTo>
                    <a:pt x="2119533" y="535224"/>
                    <a:pt x="2166425" y="562773"/>
                    <a:pt x="2218462" y="562773"/>
                  </a:cubicBezTo>
                  <a:cubicBezTo>
                    <a:pt x="2249073" y="562773"/>
                    <a:pt x="2276557" y="553590"/>
                    <a:pt x="2301045" y="529102"/>
                  </a:cubicBezTo>
                  <a:lnTo>
                    <a:pt x="2386689" y="601459"/>
                  </a:lnTo>
                  <a:cubicBezTo>
                    <a:pt x="2346895" y="654473"/>
                    <a:pt x="2274538" y="677919"/>
                    <a:pt x="2210321" y="677919"/>
                  </a:cubicBezTo>
                  <a:cubicBezTo>
                    <a:pt x="2072705" y="677919"/>
                    <a:pt x="1991100" y="569872"/>
                    <a:pt x="1991100" y="429130"/>
                  </a:cubicBezTo>
                  <a:cubicBezTo>
                    <a:pt x="1991100" y="288388"/>
                    <a:pt x="2079804" y="176302"/>
                    <a:pt x="2205176" y="176302"/>
                  </a:cubicBezTo>
                  <a:cubicBezTo>
                    <a:pt x="2339731" y="176302"/>
                    <a:pt x="2397891" y="298678"/>
                    <a:pt x="2397891" y="426069"/>
                  </a:cubicBezTo>
                  <a:close/>
                  <a:moveTo>
                    <a:pt x="2116472" y="374162"/>
                  </a:moveTo>
                  <a:lnTo>
                    <a:pt x="2287759" y="374162"/>
                  </a:lnTo>
                  <a:cubicBezTo>
                    <a:pt x="2282679" y="320105"/>
                    <a:pt x="2251027" y="283438"/>
                    <a:pt x="2199054" y="283438"/>
                  </a:cubicBezTo>
                  <a:cubicBezTo>
                    <a:pt x="2144021" y="283438"/>
                    <a:pt x="2119533" y="334433"/>
                    <a:pt x="2116472" y="374162"/>
                  </a:cubicBezTo>
                  <a:close/>
                  <a:moveTo>
                    <a:pt x="1933982" y="428218"/>
                  </a:moveTo>
                  <a:cubicBezTo>
                    <a:pt x="1933982" y="551571"/>
                    <a:pt x="1882987" y="677984"/>
                    <a:pt x="1746413" y="677984"/>
                  </a:cubicBezTo>
                  <a:cubicBezTo>
                    <a:pt x="1693399" y="677984"/>
                    <a:pt x="1660769" y="658642"/>
                    <a:pt x="1639342" y="638191"/>
                  </a:cubicBezTo>
                  <a:lnTo>
                    <a:pt x="1639342" y="784990"/>
                  </a:lnTo>
                  <a:lnTo>
                    <a:pt x="1519050" y="845169"/>
                  </a:lnTo>
                  <a:lnTo>
                    <a:pt x="1519050" y="186527"/>
                  </a:lnTo>
                  <a:lnTo>
                    <a:pt x="1639342" y="186527"/>
                  </a:lnTo>
                  <a:lnTo>
                    <a:pt x="1639342" y="219157"/>
                  </a:lnTo>
                  <a:cubicBezTo>
                    <a:pt x="1670929" y="190630"/>
                    <a:pt x="1703559" y="176367"/>
                    <a:pt x="1748432" y="176367"/>
                  </a:cubicBezTo>
                  <a:cubicBezTo>
                    <a:pt x="1877907" y="176367"/>
                    <a:pt x="1933982" y="298743"/>
                    <a:pt x="1933982" y="428218"/>
                  </a:cubicBezTo>
                  <a:close/>
                  <a:moveTo>
                    <a:pt x="1809587" y="434340"/>
                  </a:moveTo>
                  <a:cubicBezTo>
                    <a:pt x="1809587" y="364002"/>
                    <a:pt x="1791221" y="292621"/>
                    <a:pt x="1718864" y="292621"/>
                  </a:cubicBezTo>
                  <a:cubicBezTo>
                    <a:pt x="1685193" y="292621"/>
                    <a:pt x="1658685" y="307926"/>
                    <a:pt x="1639342" y="335410"/>
                  </a:cubicBezTo>
                  <a:lnTo>
                    <a:pt x="1639342" y="518942"/>
                  </a:lnTo>
                  <a:cubicBezTo>
                    <a:pt x="1658685" y="546491"/>
                    <a:pt x="1691315" y="562773"/>
                    <a:pt x="1726028" y="562773"/>
                  </a:cubicBezTo>
                  <a:cubicBezTo>
                    <a:pt x="1793305" y="562773"/>
                    <a:pt x="1809652" y="501618"/>
                    <a:pt x="1809652" y="434340"/>
                  </a:cubicBezTo>
                  <a:close/>
                  <a:moveTo>
                    <a:pt x="1435426" y="667825"/>
                  </a:moveTo>
                  <a:lnTo>
                    <a:pt x="1315134" y="667825"/>
                  </a:lnTo>
                  <a:lnTo>
                    <a:pt x="1315134" y="634153"/>
                  </a:lnTo>
                  <a:cubicBezTo>
                    <a:pt x="1286608" y="662680"/>
                    <a:pt x="1249876" y="677984"/>
                    <a:pt x="1202983" y="677984"/>
                  </a:cubicBezTo>
                  <a:cubicBezTo>
                    <a:pt x="1108157" y="677984"/>
                    <a:pt x="1033715" y="616829"/>
                    <a:pt x="1033715" y="510800"/>
                  </a:cubicBezTo>
                  <a:cubicBezTo>
                    <a:pt x="1033715" y="404772"/>
                    <a:pt x="1106072" y="348696"/>
                    <a:pt x="1221284" y="348696"/>
                  </a:cubicBezTo>
                  <a:cubicBezTo>
                    <a:pt x="1251894" y="348696"/>
                    <a:pt x="1283482" y="352799"/>
                    <a:pt x="1315069" y="368040"/>
                  </a:cubicBezTo>
                  <a:lnTo>
                    <a:pt x="1315069" y="342574"/>
                  </a:lnTo>
                  <a:cubicBezTo>
                    <a:pt x="1315069" y="297701"/>
                    <a:pt x="1285501" y="279335"/>
                    <a:pt x="1232486" y="279335"/>
                  </a:cubicBezTo>
                  <a:cubicBezTo>
                    <a:pt x="1194777" y="279335"/>
                    <a:pt x="1159087" y="288518"/>
                    <a:pt x="1121378" y="310922"/>
                  </a:cubicBezTo>
                  <a:lnTo>
                    <a:pt x="1073443" y="225278"/>
                  </a:lnTo>
                  <a:cubicBezTo>
                    <a:pt x="1125416" y="192649"/>
                    <a:pt x="1175369" y="176367"/>
                    <a:pt x="1239650" y="176367"/>
                  </a:cubicBezTo>
                  <a:cubicBezTo>
                    <a:pt x="1360984" y="176367"/>
                    <a:pt x="1435426" y="235503"/>
                    <a:pt x="1435426" y="344593"/>
                  </a:cubicBezTo>
                  <a:lnTo>
                    <a:pt x="1435426" y="667759"/>
                  </a:lnTo>
                  <a:close/>
                  <a:moveTo>
                    <a:pt x="1315134" y="527083"/>
                  </a:moveTo>
                  <a:lnTo>
                    <a:pt x="1315134" y="465927"/>
                  </a:lnTo>
                  <a:cubicBezTo>
                    <a:pt x="1290646" y="450622"/>
                    <a:pt x="1259059" y="445542"/>
                    <a:pt x="1234570" y="445542"/>
                  </a:cubicBezTo>
                  <a:cubicBezTo>
                    <a:pt x="1181556" y="445542"/>
                    <a:pt x="1156091" y="468988"/>
                    <a:pt x="1156091" y="507740"/>
                  </a:cubicBezTo>
                  <a:cubicBezTo>
                    <a:pt x="1156091" y="544472"/>
                    <a:pt x="1179537" y="574040"/>
                    <a:pt x="1224410" y="574040"/>
                  </a:cubicBezTo>
                  <a:cubicBezTo>
                    <a:pt x="1247857" y="574040"/>
                    <a:pt x="1288627" y="565899"/>
                    <a:pt x="1315134" y="527148"/>
                  </a:cubicBezTo>
                  <a:close/>
                  <a:moveTo>
                    <a:pt x="967480" y="667825"/>
                  </a:moveTo>
                  <a:lnTo>
                    <a:pt x="847188" y="667825"/>
                  </a:lnTo>
                  <a:lnTo>
                    <a:pt x="847188" y="405814"/>
                  </a:lnTo>
                  <a:cubicBezTo>
                    <a:pt x="847188" y="340555"/>
                    <a:pt x="832925" y="292621"/>
                    <a:pt x="765647" y="292621"/>
                  </a:cubicBezTo>
                  <a:cubicBezTo>
                    <a:pt x="698370" y="292621"/>
                    <a:pt x="683065" y="336452"/>
                    <a:pt x="683065" y="402753"/>
                  </a:cubicBezTo>
                  <a:lnTo>
                    <a:pt x="683065" y="667825"/>
                  </a:lnTo>
                  <a:lnTo>
                    <a:pt x="562773" y="667825"/>
                  </a:lnTo>
                  <a:lnTo>
                    <a:pt x="562773" y="61221"/>
                  </a:lnTo>
                  <a:lnTo>
                    <a:pt x="683065" y="65"/>
                  </a:lnTo>
                  <a:lnTo>
                    <a:pt x="683065" y="220264"/>
                  </a:lnTo>
                  <a:cubicBezTo>
                    <a:pt x="709572" y="193756"/>
                    <a:pt x="742201" y="176432"/>
                    <a:pt x="796258" y="176432"/>
                  </a:cubicBezTo>
                  <a:cubicBezTo>
                    <a:pt x="923713" y="176432"/>
                    <a:pt x="967545" y="274320"/>
                    <a:pt x="967545" y="396631"/>
                  </a:cubicBezTo>
                  <a:lnTo>
                    <a:pt x="967545" y="667825"/>
                  </a:lnTo>
                  <a:close/>
                  <a:moveTo>
                    <a:pt x="496472" y="475110"/>
                  </a:moveTo>
                  <a:cubicBezTo>
                    <a:pt x="496472" y="619890"/>
                    <a:pt x="386341" y="677984"/>
                    <a:pt x="255889" y="677984"/>
                  </a:cubicBezTo>
                  <a:cubicBezTo>
                    <a:pt x="162104" y="677984"/>
                    <a:pt x="58094" y="648416"/>
                    <a:pt x="0" y="562773"/>
                  </a:cubicBezTo>
                  <a:lnTo>
                    <a:pt x="89747" y="483251"/>
                  </a:lnTo>
                  <a:cubicBezTo>
                    <a:pt x="131559" y="533205"/>
                    <a:pt x="191672" y="556651"/>
                    <a:pt x="252893" y="556651"/>
                  </a:cubicBezTo>
                  <a:cubicBezTo>
                    <a:pt x="325250" y="556651"/>
                    <a:pt x="367063" y="524022"/>
                    <a:pt x="367063" y="478171"/>
                  </a:cubicBezTo>
                  <a:cubicBezTo>
                    <a:pt x="367063" y="459805"/>
                    <a:pt x="359899" y="441439"/>
                    <a:pt x="329353" y="426199"/>
                  </a:cubicBezTo>
                  <a:cubicBezTo>
                    <a:pt x="306949" y="414997"/>
                    <a:pt x="279400" y="407833"/>
                    <a:pt x="225344" y="394612"/>
                  </a:cubicBezTo>
                  <a:cubicBezTo>
                    <a:pt x="191672" y="386471"/>
                    <a:pt x="122376" y="370124"/>
                    <a:pt x="79522" y="335475"/>
                  </a:cubicBezTo>
                  <a:cubicBezTo>
                    <a:pt x="36732" y="300827"/>
                    <a:pt x="24488" y="250874"/>
                    <a:pt x="24488" y="207042"/>
                  </a:cubicBezTo>
                  <a:cubicBezTo>
                    <a:pt x="24488" y="71445"/>
                    <a:pt x="140742" y="16412"/>
                    <a:pt x="254912" y="16412"/>
                  </a:cubicBezTo>
                  <a:cubicBezTo>
                    <a:pt x="353776" y="16412"/>
                    <a:pt x="425157" y="57182"/>
                    <a:pt x="482274" y="115277"/>
                  </a:cubicBezTo>
                  <a:lnTo>
                    <a:pt x="392528" y="202939"/>
                  </a:lnTo>
                  <a:cubicBezTo>
                    <a:pt x="350715" y="161127"/>
                    <a:pt x="309945" y="137681"/>
                    <a:pt x="246706" y="137681"/>
                  </a:cubicBezTo>
                  <a:cubicBezTo>
                    <a:pt x="192649" y="137681"/>
                    <a:pt x="152921" y="155005"/>
                    <a:pt x="152921" y="199878"/>
                  </a:cubicBezTo>
                  <a:cubicBezTo>
                    <a:pt x="152921" y="219221"/>
                    <a:pt x="160085" y="232508"/>
                    <a:pt x="179428" y="243710"/>
                  </a:cubicBezTo>
                  <a:cubicBezTo>
                    <a:pt x="201832" y="255954"/>
                    <a:pt x="233485" y="265137"/>
                    <a:pt x="282396" y="277381"/>
                  </a:cubicBezTo>
                  <a:cubicBezTo>
                    <a:pt x="340490" y="292686"/>
                    <a:pt x="394547" y="305907"/>
                    <a:pt x="438378" y="341598"/>
                  </a:cubicBezTo>
                  <a:cubicBezTo>
                    <a:pt x="477129" y="373185"/>
                    <a:pt x="496472" y="414997"/>
                    <a:pt x="496472" y="475176"/>
                  </a:cubicBezTo>
                  <a:close/>
                  <a:moveTo>
                    <a:pt x="6100885" y="208996"/>
                  </a:moveTo>
                  <a:lnTo>
                    <a:pt x="6051778" y="329288"/>
                  </a:lnTo>
                  <a:cubicBezTo>
                    <a:pt x="6033413" y="311964"/>
                    <a:pt x="6011985" y="299720"/>
                    <a:pt x="5982482" y="299720"/>
                  </a:cubicBezTo>
                  <a:cubicBezTo>
                    <a:pt x="5925365" y="299720"/>
                    <a:pt x="5911232" y="347654"/>
                    <a:pt x="5911232" y="405749"/>
                  </a:cubicBezTo>
                  <a:lnTo>
                    <a:pt x="5911232" y="667759"/>
                  </a:lnTo>
                  <a:lnTo>
                    <a:pt x="5790940" y="667759"/>
                  </a:lnTo>
                  <a:lnTo>
                    <a:pt x="5790940" y="186527"/>
                  </a:lnTo>
                  <a:lnTo>
                    <a:pt x="5911232" y="186527"/>
                  </a:lnTo>
                  <a:lnTo>
                    <a:pt x="5911232" y="220198"/>
                  </a:lnTo>
                  <a:cubicBezTo>
                    <a:pt x="5938781" y="192649"/>
                    <a:pt x="5973429" y="176367"/>
                    <a:pt x="6012181" y="176367"/>
                  </a:cubicBezTo>
                  <a:cubicBezTo>
                    <a:pt x="6045852" y="176367"/>
                    <a:pt x="6075420" y="186592"/>
                    <a:pt x="6100885" y="208996"/>
                  </a:cubicBezTo>
                  <a:close/>
                </a:path>
              </a:pathLst>
            </a:custGeom>
            <a:solidFill>
              <a:schemeClr val="bg1"/>
            </a:solidFill>
            <a:ln w="6506" cap="flat">
              <a:noFill/>
              <a:prstDash val="solid"/>
              <a:miter/>
            </a:ln>
          </p:spPr>
          <p:txBody>
            <a:bodyPr rtlCol="0" anchor="ctr"/>
            <a:lstStyle/>
            <a:p>
              <a:endParaRPr lang="en-US" sz="1799"/>
            </a:p>
          </p:txBody>
        </p:sp>
      </p:grpSp>
    </p:spTree>
    <p:extLst>
      <p:ext uri="{BB962C8B-B14F-4D97-AF65-F5344CB8AC3E}">
        <p14:creationId xmlns:p14="http://schemas.microsoft.com/office/powerpoint/2010/main" val="3838320134"/>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Fram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713817A-1A0E-6215-C86F-711F67622AC3}"/>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a:p>
          </p:txBody>
        </p:sp>
      </p:grpSp>
      <p:grpSp>
        <p:nvGrpSpPr>
          <p:cNvPr id="5" name="Group 4">
            <a:extLst>
              <a:ext uri="{FF2B5EF4-FFF2-40B4-BE49-F238E27FC236}">
                <a16:creationId xmlns:a16="http://schemas.microsoft.com/office/drawing/2014/main" id="{9167EEE6-F985-2112-F3A8-85F1A04A37BD}"/>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166D7E4E-2A81-A5AB-16CA-DBCEFBD59141}"/>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FF32FF"/>
                </a:gs>
                <a:gs pos="100000">
                  <a:srgbClr val="32FFFF"/>
                </a:gs>
              </a:gsLst>
              <a:lin ang="18600000" scaled="0"/>
              <a:tileRect/>
            </a:gradFill>
            <a:ln w="8181"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6185434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Frame 2">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7B25F44-CAE3-AE0B-B97B-B0F6E4B43D50}"/>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a:p>
          </p:txBody>
        </p:sp>
      </p:grpSp>
      <p:grpSp>
        <p:nvGrpSpPr>
          <p:cNvPr id="2" name="Group 1">
            <a:extLst>
              <a:ext uri="{FF2B5EF4-FFF2-40B4-BE49-F238E27FC236}">
                <a16:creationId xmlns:a16="http://schemas.microsoft.com/office/drawing/2014/main" id="{7E7E8938-439A-DB5B-B3DF-7EF202013D57}"/>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4" name="Group 3">
            <a:extLst>
              <a:ext uri="{FF2B5EF4-FFF2-40B4-BE49-F238E27FC236}">
                <a16:creationId xmlns:a16="http://schemas.microsoft.com/office/drawing/2014/main" id="{1A067759-C6C3-3B7B-ABF5-859A6A63528E}"/>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6" name="Freeform 5">
              <a:extLst>
                <a:ext uri="{FF2B5EF4-FFF2-40B4-BE49-F238E27FC236}">
                  <a16:creationId xmlns:a16="http://schemas.microsoft.com/office/drawing/2014/main" id="{CC99724B-50FD-5B78-B6B7-D645073026A7}"/>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A420F8"/>
                </a:gs>
                <a:gs pos="100000">
                  <a:srgbClr val="5C94F9"/>
                </a:gs>
              </a:gsLst>
              <a:lin ang="18720000" scaled="0"/>
              <a:tileRect/>
            </a:gradFill>
            <a:ln w="8181"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endParaRPr lang="en-US"/>
            </a:p>
          </p:txBody>
        </p:sp>
      </p:grpSp>
    </p:spTree>
    <p:extLst>
      <p:ext uri="{BB962C8B-B14F-4D97-AF65-F5344CB8AC3E}">
        <p14:creationId xmlns:p14="http://schemas.microsoft.com/office/powerpoint/2010/main" val="19806163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Fram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D8D4830-1AF6-9C3D-EC53-70FC3C7CBE54}"/>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a:p>
          </p:txBody>
        </p:sp>
      </p:grpSp>
      <p:grpSp>
        <p:nvGrpSpPr>
          <p:cNvPr id="5" name="Group 4">
            <a:extLst>
              <a:ext uri="{FF2B5EF4-FFF2-40B4-BE49-F238E27FC236}">
                <a16:creationId xmlns:a16="http://schemas.microsoft.com/office/drawing/2014/main" id="{E8BA944B-A631-ACF6-36AE-7C814C7A5C9A}"/>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3" name="Group 2">
            <a:extLst>
              <a:ext uri="{FF2B5EF4-FFF2-40B4-BE49-F238E27FC236}">
                <a16:creationId xmlns:a16="http://schemas.microsoft.com/office/drawing/2014/main" id="{B1B984E4-95BA-5123-1CFC-48CE97FD8196}"/>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2" name="Freeform 1">
              <a:extLst>
                <a:ext uri="{FF2B5EF4-FFF2-40B4-BE49-F238E27FC236}">
                  <a16:creationId xmlns:a16="http://schemas.microsoft.com/office/drawing/2014/main" id="{63327741-8A1F-B922-5F7C-0313A67883A4}"/>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39000">
                  <a:srgbClr val="FFE600"/>
                </a:gs>
                <a:gs pos="68000">
                  <a:srgbClr val="FF7D1E"/>
                </a:gs>
                <a:gs pos="100000">
                  <a:srgbClr val="FF32FF"/>
                </a:gs>
              </a:gsLst>
              <a:lin ang="1872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12995005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Frame 4">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2D7BB4A-5FCC-BE0E-4598-A4CBBA847A08}"/>
              </a:ext>
              <a:ext uri="{C183D7F6-B498-43B3-948B-1728B52AA6E4}">
                <adec:decorative xmlns:adec="http://schemas.microsoft.com/office/drawing/2017/decorative" val="1"/>
              </a:ext>
            </a:extLst>
          </p:cNvPr>
          <p:cNvSpPr/>
          <p:nvPr userDrawn="1"/>
        </p:nvSpPr>
        <p:spPr>
          <a:xfrm>
            <a:off x="0" y="0"/>
            <a:ext cx="8386354" cy="6858000"/>
          </a:xfrm>
          <a:prstGeom prst="rect">
            <a:avLst/>
          </a:prstGeom>
          <a:gradFill flip="none" rotWithShape="1">
            <a:gsLst>
              <a:gs pos="0">
                <a:schemeClr val="tx1">
                  <a:lumMod val="0"/>
                  <a:alpha val="0"/>
                </a:schemeClr>
              </a:gs>
              <a:gs pos="95000">
                <a:srgbClr val="000000">
                  <a:alpha val="70000"/>
                </a:srgbClr>
              </a:gs>
            </a:gsLst>
            <a:lin ang="108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en-US" sz="1200" b="1">
              <a:solidFill>
                <a:schemeClr val="tx1"/>
              </a:solidFill>
            </a:endParaRPr>
          </a:p>
        </p:txBody>
      </p:sp>
      <p:grpSp>
        <p:nvGrpSpPr>
          <p:cNvPr id="21" name="Group 20">
            <a:extLst>
              <a:ext uri="{FF2B5EF4-FFF2-40B4-BE49-F238E27FC236}">
                <a16:creationId xmlns:a16="http://schemas.microsoft.com/office/drawing/2014/main" id="{A8D6BAB6-A68E-C404-5D92-6E11D325CFFA}"/>
              </a:ext>
            </a:extLst>
          </p:cNvPr>
          <p:cNvGrpSpPr/>
          <p:nvPr userDrawn="1"/>
        </p:nvGrpSpPr>
        <p:grpSpPr bwMode="black">
          <a:xfrm>
            <a:off x="10563224" y="5167683"/>
            <a:ext cx="1219200" cy="1284606"/>
            <a:chOff x="10563224" y="5158158"/>
            <a:chExt cx="1219200" cy="1284606"/>
          </a:xfrm>
        </p:grpSpPr>
        <p:sp>
          <p:nvSpPr>
            <p:cNvPr id="22" name="Freeform 21">
              <a:extLst>
                <a:ext uri="{FF2B5EF4-FFF2-40B4-BE49-F238E27FC236}">
                  <a16:creationId xmlns:a16="http://schemas.microsoft.com/office/drawing/2014/main" id="{BEE0067F-78DC-1ABA-D072-D13444B14ED9}"/>
                </a:ext>
              </a:extLst>
            </p:cNvPr>
            <p:cNvSpPr/>
            <p:nvPr/>
          </p:nvSpPr>
          <p:spPr bwMode="black">
            <a:xfrm>
              <a:off x="10826115" y="5158158"/>
              <a:ext cx="805814" cy="294004"/>
            </a:xfrm>
            <a:custGeom>
              <a:avLst/>
              <a:gdLst>
                <a:gd name="connsiteX0" fmla="*/ 805814 w 805814"/>
                <a:gd name="connsiteY0" fmla="*/ 0 h 294004"/>
                <a:gd name="connsiteX1" fmla="*/ 0 w 805814"/>
                <a:gd name="connsiteY1" fmla="*/ 294005 h 294004"/>
                <a:gd name="connsiteX2" fmla="*/ 805814 w 805814"/>
                <a:gd name="connsiteY2" fmla="*/ 151765 h 294004"/>
                <a:gd name="connsiteX3" fmla="*/ 805814 w 805814"/>
                <a:gd name="connsiteY3" fmla="*/ 0 h 294004"/>
              </a:gdLst>
              <a:ahLst/>
              <a:cxnLst>
                <a:cxn ang="0">
                  <a:pos x="connsiteX0" y="connsiteY0"/>
                </a:cxn>
                <a:cxn ang="0">
                  <a:pos x="connsiteX1" y="connsiteY1"/>
                </a:cxn>
                <a:cxn ang="0">
                  <a:pos x="connsiteX2" y="connsiteY2"/>
                </a:cxn>
                <a:cxn ang="0">
                  <a:pos x="connsiteX3" y="connsiteY3"/>
                </a:cxn>
              </a:cxnLst>
              <a:rect l="l" t="t" r="r" b="b"/>
              <a:pathLst>
                <a:path w="805814" h="294004">
                  <a:moveTo>
                    <a:pt x="805814" y="0"/>
                  </a:moveTo>
                  <a:lnTo>
                    <a:pt x="0" y="294005"/>
                  </a:lnTo>
                  <a:lnTo>
                    <a:pt x="805814" y="151765"/>
                  </a:lnTo>
                  <a:lnTo>
                    <a:pt x="805814" y="0"/>
                  </a:lnTo>
                  <a:close/>
                </a:path>
              </a:pathLst>
            </a:custGeom>
            <a:solidFill>
              <a:srgbClr val="FFE600"/>
            </a:solidFill>
            <a:ln w="63500" cap="flat">
              <a:noFill/>
              <a:prstDash val="solid"/>
              <a:miter/>
            </a:ln>
          </p:spPr>
          <p:txBody>
            <a:bodyPr rtlCol="0" anchor="ctr"/>
            <a:lstStyle/>
            <a:p>
              <a:endParaRPr lang="en-US"/>
            </a:p>
          </p:txBody>
        </p:sp>
        <p:sp>
          <p:nvSpPr>
            <p:cNvPr id="23" name="Freeform 22">
              <a:extLst>
                <a:ext uri="{FF2B5EF4-FFF2-40B4-BE49-F238E27FC236}">
                  <a16:creationId xmlns:a16="http://schemas.microsoft.com/office/drawing/2014/main" id="{51F51328-AAA1-9C6C-5EE4-05350DF6D22E}"/>
                </a:ext>
              </a:extLst>
            </p:cNvPr>
            <p:cNvSpPr/>
            <p:nvPr/>
          </p:nvSpPr>
          <p:spPr bwMode="black">
            <a:xfrm>
              <a:off x="10563224" y="5574083"/>
              <a:ext cx="1219200" cy="868681"/>
            </a:xfrm>
            <a:custGeom>
              <a:avLst/>
              <a:gdLst>
                <a:gd name="connsiteX0" fmla="*/ 245110 w 1219200"/>
                <a:gd name="connsiteY0" fmla="*/ 839471 h 868681"/>
                <a:gd name="connsiteX1" fmla="*/ 246379 w 1219200"/>
                <a:gd name="connsiteY1" fmla="*/ 839471 h 868681"/>
                <a:gd name="connsiteX2" fmla="*/ 245041 w 1219200"/>
                <a:gd name="connsiteY2" fmla="*/ 839979 h 868681"/>
                <a:gd name="connsiteX3" fmla="*/ 522605 w 1219200"/>
                <a:gd name="connsiteY3" fmla="*/ 796926 h 868681"/>
                <a:gd name="connsiteX4" fmla="*/ 504189 w 1219200"/>
                <a:gd name="connsiteY4" fmla="*/ 821691 h 868681"/>
                <a:gd name="connsiteX5" fmla="*/ 522605 w 1219200"/>
                <a:gd name="connsiteY5" fmla="*/ 845821 h 868681"/>
                <a:gd name="connsiteX6" fmla="*/ 541019 w 1219200"/>
                <a:gd name="connsiteY6" fmla="*/ 821691 h 868681"/>
                <a:gd name="connsiteX7" fmla="*/ 522605 w 1219200"/>
                <a:gd name="connsiteY7" fmla="*/ 796926 h 868681"/>
                <a:gd name="connsiteX8" fmla="*/ 817245 w 1219200"/>
                <a:gd name="connsiteY8" fmla="*/ 796291 h 868681"/>
                <a:gd name="connsiteX9" fmla="*/ 800735 w 1219200"/>
                <a:gd name="connsiteY9" fmla="*/ 819786 h 868681"/>
                <a:gd name="connsiteX10" fmla="*/ 817879 w 1219200"/>
                <a:gd name="connsiteY10" fmla="*/ 846456 h 868681"/>
                <a:gd name="connsiteX11" fmla="*/ 833754 w 1219200"/>
                <a:gd name="connsiteY11" fmla="*/ 838836 h 868681"/>
                <a:gd name="connsiteX12" fmla="*/ 833754 w 1219200"/>
                <a:gd name="connsiteY12" fmla="*/ 838201 h 868681"/>
                <a:gd name="connsiteX13" fmla="*/ 833754 w 1219200"/>
                <a:gd name="connsiteY13" fmla="*/ 803911 h 868681"/>
                <a:gd name="connsiteX14" fmla="*/ 817245 w 1219200"/>
                <a:gd name="connsiteY14" fmla="*/ 796291 h 868681"/>
                <a:gd name="connsiteX15" fmla="*/ 1179195 w 1219200"/>
                <a:gd name="connsiteY15" fmla="*/ 794386 h 868681"/>
                <a:gd name="connsiteX16" fmla="*/ 1163320 w 1219200"/>
                <a:gd name="connsiteY16" fmla="*/ 811531 h 868681"/>
                <a:gd name="connsiteX17" fmla="*/ 1163954 w 1219200"/>
                <a:gd name="connsiteY17" fmla="*/ 811531 h 868681"/>
                <a:gd name="connsiteX18" fmla="*/ 1195704 w 1219200"/>
                <a:gd name="connsiteY18" fmla="*/ 811531 h 868681"/>
                <a:gd name="connsiteX19" fmla="*/ 1179195 w 1219200"/>
                <a:gd name="connsiteY19" fmla="*/ 794386 h 868681"/>
                <a:gd name="connsiteX20" fmla="*/ 909320 w 1219200"/>
                <a:gd name="connsiteY20" fmla="*/ 794386 h 868681"/>
                <a:gd name="connsiteX21" fmla="*/ 893445 w 1219200"/>
                <a:gd name="connsiteY21" fmla="*/ 811531 h 868681"/>
                <a:gd name="connsiteX22" fmla="*/ 894079 w 1219200"/>
                <a:gd name="connsiteY22" fmla="*/ 811531 h 868681"/>
                <a:gd name="connsiteX23" fmla="*/ 925829 w 1219200"/>
                <a:gd name="connsiteY23" fmla="*/ 811531 h 868681"/>
                <a:gd name="connsiteX24" fmla="*/ 909320 w 1219200"/>
                <a:gd name="connsiteY24" fmla="*/ 794386 h 868681"/>
                <a:gd name="connsiteX25" fmla="*/ 737870 w 1219200"/>
                <a:gd name="connsiteY25" fmla="*/ 775971 h 868681"/>
                <a:gd name="connsiteX26" fmla="*/ 761364 w 1219200"/>
                <a:gd name="connsiteY26" fmla="*/ 775971 h 868681"/>
                <a:gd name="connsiteX27" fmla="*/ 761364 w 1219200"/>
                <a:gd name="connsiteY27" fmla="*/ 866141 h 868681"/>
                <a:gd name="connsiteX28" fmla="*/ 737870 w 1219200"/>
                <a:gd name="connsiteY28" fmla="*/ 866141 h 868681"/>
                <a:gd name="connsiteX29" fmla="*/ 143510 w 1219200"/>
                <a:gd name="connsiteY29" fmla="*/ 775971 h 868681"/>
                <a:gd name="connsiteX30" fmla="*/ 167004 w 1219200"/>
                <a:gd name="connsiteY30" fmla="*/ 775971 h 868681"/>
                <a:gd name="connsiteX31" fmla="*/ 167004 w 1219200"/>
                <a:gd name="connsiteY31" fmla="*/ 866141 h 868681"/>
                <a:gd name="connsiteX32" fmla="*/ 143510 w 1219200"/>
                <a:gd name="connsiteY32" fmla="*/ 866141 h 868681"/>
                <a:gd name="connsiteX33" fmla="*/ 635 w 1219200"/>
                <a:gd name="connsiteY33" fmla="*/ 775971 h 868681"/>
                <a:gd name="connsiteX34" fmla="*/ 26670 w 1219200"/>
                <a:gd name="connsiteY34" fmla="*/ 775971 h 868681"/>
                <a:gd name="connsiteX35" fmla="*/ 40004 w 1219200"/>
                <a:gd name="connsiteY35" fmla="*/ 828041 h 868681"/>
                <a:gd name="connsiteX36" fmla="*/ 55245 w 1219200"/>
                <a:gd name="connsiteY36" fmla="*/ 775971 h 868681"/>
                <a:gd name="connsiteX37" fmla="*/ 76200 w 1219200"/>
                <a:gd name="connsiteY37" fmla="*/ 775971 h 868681"/>
                <a:gd name="connsiteX38" fmla="*/ 91439 w 1219200"/>
                <a:gd name="connsiteY38" fmla="*/ 828041 h 868681"/>
                <a:gd name="connsiteX39" fmla="*/ 105409 w 1219200"/>
                <a:gd name="connsiteY39" fmla="*/ 775971 h 868681"/>
                <a:gd name="connsiteX40" fmla="*/ 130810 w 1219200"/>
                <a:gd name="connsiteY40" fmla="*/ 775971 h 868681"/>
                <a:gd name="connsiteX41" fmla="*/ 102235 w 1219200"/>
                <a:gd name="connsiteY41" fmla="*/ 866141 h 868681"/>
                <a:gd name="connsiteX42" fmla="*/ 80644 w 1219200"/>
                <a:gd name="connsiteY42" fmla="*/ 866141 h 868681"/>
                <a:gd name="connsiteX43" fmla="*/ 65405 w 1219200"/>
                <a:gd name="connsiteY43" fmla="*/ 811531 h 868681"/>
                <a:gd name="connsiteX44" fmla="*/ 50165 w 1219200"/>
                <a:gd name="connsiteY44" fmla="*/ 866141 h 868681"/>
                <a:gd name="connsiteX45" fmla="*/ 28575 w 1219200"/>
                <a:gd name="connsiteY45" fmla="*/ 866141 h 868681"/>
                <a:gd name="connsiteX46" fmla="*/ 1181099 w 1219200"/>
                <a:gd name="connsiteY46" fmla="*/ 774066 h 868681"/>
                <a:gd name="connsiteX47" fmla="*/ 1219200 w 1219200"/>
                <a:gd name="connsiteY47" fmla="*/ 821056 h 868681"/>
                <a:gd name="connsiteX48" fmla="*/ 1218564 w 1219200"/>
                <a:gd name="connsiteY48" fmla="*/ 821056 h 868681"/>
                <a:gd name="connsiteX49" fmla="*/ 1218564 w 1219200"/>
                <a:gd name="connsiteY49" fmla="*/ 828676 h 868681"/>
                <a:gd name="connsiteX50" fmla="*/ 1163954 w 1219200"/>
                <a:gd name="connsiteY50" fmla="*/ 828676 h 868681"/>
                <a:gd name="connsiteX51" fmla="*/ 1183004 w 1219200"/>
                <a:gd name="connsiteY51" fmla="*/ 846456 h 868681"/>
                <a:gd name="connsiteX52" fmla="*/ 1198879 w 1219200"/>
                <a:gd name="connsiteY52" fmla="*/ 840106 h 868681"/>
                <a:gd name="connsiteX53" fmla="*/ 1214754 w 1219200"/>
                <a:gd name="connsiteY53" fmla="*/ 853441 h 868681"/>
                <a:gd name="connsiteX54" fmla="*/ 1182370 w 1219200"/>
                <a:gd name="connsiteY54" fmla="*/ 868046 h 868681"/>
                <a:gd name="connsiteX55" fmla="*/ 1141095 w 1219200"/>
                <a:gd name="connsiteY55" fmla="*/ 821056 h 868681"/>
                <a:gd name="connsiteX56" fmla="*/ 1181099 w 1219200"/>
                <a:gd name="connsiteY56" fmla="*/ 774066 h 868681"/>
                <a:gd name="connsiteX57" fmla="*/ 1097915 w 1219200"/>
                <a:gd name="connsiteY57" fmla="*/ 774066 h 868681"/>
                <a:gd name="connsiteX58" fmla="*/ 1133474 w 1219200"/>
                <a:gd name="connsiteY58" fmla="*/ 793751 h 868681"/>
                <a:gd name="connsiteX59" fmla="*/ 1118235 w 1219200"/>
                <a:gd name="connsiteY59" fmla="*/ 808991 h 868681"/>
                <a:gd name="connsiteX60" fmla="*/ 1097915 w 1219200"/>
                <a:gd name="connsiteY60" fmla="*/ 796291 h 868681"/>
                <a:gd name="connsiteX61" fmla="*/ 1078864 w 1219200"/>
                <a:gd name="connsiteY61" fmla="*/ 820421 h 868681"/>
                <a:gd name="connsiteX62" fmla="*/ 1097915 w 1219200"/>
                <a:gd name="connsiteY62" fmla="*/ 845186 h 868681"/>
                <a:gd name="connsiteX63" fmla="*/ 1118235 w 1219200"/>
                <a:gd name="connsiteY63" fmla="*/ 833756 h 868681"/>
                <a:gd name="connsiteX64" fmla="*/ 1118870 w 1219200"/>
                <a:gd name="connsiteY64" fmla="*/ 834391 h 868681"/>
                <a:gd name="connsiteX65" fmla="*/ 1133474 w 1219200"/>
                <a:gd name="connsiteY65" fmla="*/ 848361 h 868681"/>
                <a:gd name="connsiteX66" fmla="*/ 1097280 w 1219200"/>
                <a:gd name="connsiteY66" fmla="*/ 868046 h 868681"/>
                <a:gd name="connsiteX67" fmla="*/ 1054735 w 1219200"/>
                <a:gd name="connsiteY67" fmla="*/ 821056 h 868681"/>
                <a:gd name="connsiteX68" fmla="*/ 1097915 w 1219200"/>
                <a:gd name="connsiteY68" fmla="*/ 774066 h 868681"/>
                <a:gd name="connsiteX69" fmla="*/ 1009015 w 1219200"/>
                <a:gd name="connsiteY69" fmla="*/ 774066 h 868681"/>
                <a:gd name="connsiteX70" fmla="*/ 1041400 w 1219200"/>
                <a:gd name="connsiteY70" fmla="*/ 815341 h 868681"/>
                <a:gd name="connsiteX71" fmla="*/ 1041400 w 1219200"/>
                <a:gd name="connsiteY71" fmla="*/ 866141 h 868681"/>
                <a:gd name="connsiteX72" fmla="*/ 1017905 w 1219200"/>
                <a:gd name="connsiteY72" fmla="*/ 866141 h 868681"/>
                <a:gd name="connsiteX73" fmla="*/ 1017905 w 1219200"/>
                <a:gd name="connsiteY73" fmla="*/ 817246 h 868681"/>
                <a:gd name="connsiteX74" fmla="*/ 1002665 w 1219200"/>
                <a:gd name="connsiteY74" fmla="*/ 796291 h 868681"/>
                <a:gd name="connsiteX75" fmla="*/ 986790 w 1219200"/>
                <a:gd name="connsiteY75" fmla="*/ 816611 h 868681"/>
                <a:gd name="connsiteX76" fmla="*/ 986790 w 1219200"/>
                <a:gd name="connsiteY76" fmla="*/ 866141 h 868681"/>
                <a:gd name="connsiteX77" fmla="*/ 963295 w 1219200"/>
                <a:gd name="connsiteY77" fmla="*/ 866141 h 868681"/>
                <a:gd name="connsiteX78" fmla="*/ 963295 w 1219200"/>
                <a:gd name="connsiteY78" fmla="*/ 775971 h 868681"/>
                <a:gd name="connsiteX79" fmla="*/ 986790 w 1219200"/>
                <a:gd name="connsiteY79" fmla="*/ 775971 h 868681"/>
                <a:gd name="connsiteX80" fmla="*/ 986790 w 1219200"/>
                <a:gd name="connsiteY80" fmla="*/ 782321 h 868681"/>
                <a:gd name="connsiteX81" fmla="*/ 1009015 w 1219200"/>
                <a:gd name="connsiteY81" fmla="*/ 774066 h 868681"/>
                <a:gd name="connsiteX82" fmla="*/ 911224 w 1219200"/>
                <a:gd name="connsiteY82" fmla="*/ 774066 h 868681"/>
                <a:gd name="connsiteX83" fmla="*/ 949325 w 1219200"/>
                <a:gd name="connsiteY83" fmla="*/ 821056 h 868681"/>
                <a:gd name="connsiteX84" fmla="*/ 948689 w 1219200"/>
                <a:gd name="connsiteY84" fmla="*/ 821056 h 868681"/>
                <a:gd name="connsiteX85" fmla="*/ 948689 w 1219200"/>
                <a:gd name="connsiteY85" fmla="*/ 828676 h 868681"/>
                <a:gd name="connsiteX86" fmla="*/ 894079 w 1219200"/>
                <a:gd name="connsiteY86" fmla="*/ 828676 h 868681"/>
                <a:gd name="connsiteX87" fmla="*/ 913129 w 1219200"/>
                <a:gd name="connsiteY87" fmla="*/ 846456 h 868681"/>
                <a:gd name="connsiteX88" fmla="*/ 929004 w 1219200"/>
                <a:gd name="connsiteY88" fmla="*/ 840106 h 868681"/>
                <a:gd name="connsiteX89" fmla="*/ 944879 w 1219200"/>
                <a:gd name="connsiteY89" fmla="*/ 853441 h 868681"/>
                <a:gd name="connsiteX90" fmla="*/ 912495 w 1219200"/>
                <a:gd name="connsiteY90" fmla="*/ 868046 h 868681"/>
                <a:gd name="connsiteX91" fmla="*/ 871220 w 1219200"/>
                <a:gd name="connsiteY91" fmla="*/ 821056 h 868681"/>
                <a:gd name="connsiteX92" fmla="*/ 911224 w 1219200"/>
                <a:gd name="connsiteY92" fmla="*/ 774066 h 868681"/>
                <a:gd name="connsiteX93" fmla="*/ 623570 w 1219200"/>
                <a:gd name="connsiteY93" fmla="*/ 774066 h 868681"/>
                <a:gd name="connsiteX94" fmla="*/ 655954 w 1219200"/>
                <a:gd name="connsiteY94" fmla="*/ 815341 h 868681"/>
                <a:gd name="connsiteX95" fmla="*/ 655954 w 1219200"/>
                <a:gd name="connsiteY95" fmla="*/ 866141 h 868681"/>
                <a:gd name="connsiteX96" fmla="*/ 632459 w 1219200"/>
                <a:gd name="connsiteY96" fmla="*/ 866141 h 868681"/>
                <a:gd name="connsiteX97" fmla="*/ 632459 w 1219200"/>
                <a:gd name="connsiteY97" fmla="*/ 817246 h 868681"/>
                <a:gd name="connsiteX98" fmla="*/ 617220 w 1219200"/>
                <a:gd name="connsiteY98" fmla="*/ 796291 h 868681"/>
                <a:gd name="connsiteX99" fmla="*/ 601345 w 1219200"/>
                <a:gd name="connsiteY99" fmla="*/ 816611 h 868681"/>
                <a:gd name="connsiteX100" fmla="*/ 601345 w 1219200"/>
                <a:gd name="connsiteY100" fmla="*/ 866141 h 868681"/>
                <a:gd name="connsiteX101" fmla="*/ 577849 w 1219200"/>
                <a:gd name="connsiteY101" fmla="*/ 866141 h 868681"/>
                <a:gd name="connsiteX102" fmla="*/ 577849 w 1219200"/>
                <a:gd name="connsiteY102" fmla="*/ 775971 h 868681"/>
                <a:gd name="connsiteX103" fmla="*/ 601345 w 1219200"/>
                <a:gd name="connsiteY103" fmla="*/ 775971 h 868681"/>
                <a:gd name="connsiteX104" fmla="*/ 601345 w 1219200"/>
                <a:gd name="connsiteY104" fmla="*/ 782321 h 868681"/>
                <a:gd name="connsiteX105" fmla="*/ 623570 w 1219200"/>
                <a:gd name="connsiteY105" fmla="*/ 774066 h 868681"/>
                <a:gd name="connsiteX106" fmla="*/ 522605 w 1219200"/>
                <a:gd name="connsiteY106" fmla="*/ 774066 h 868681"/>
                <a:gd name="connsiteX107" fmla="*/ 564515 w 1219200"/>
                <a:gd name="connsiteY107" fmla="*/ 821056 h 868681"/>
                <a:gd name="connsiteX108" fmla="*/ 522605 w 1219200"/>
                <a:gd name="connsiteY108" fmla="*/ 868046 h 868681"/>
                <a:gd name="connsiteX109" fmla="*/ 480695 w 1219200"/>
                <a:gd name="connsiteY109" fmla="*/ 821056 h 868681"/>
                <a:gd name="connsiteX110" fmla="*/ 522605 w 1219200"/>
                <a:gd name="connsiteY110" fmla="*/ 774066 h 868681"/>
                <a:gd name="connsiteX111" fmla="*/ 436879 w 1219200"/>
                <a:gd name="connsiteY111" fmla="*/ 774066 h 868681"/>
                <a:gd name="connsiteX112" fmla="*/ 472439 w 1219200"/>
                <a:gd name="connsiteY112" fmla="*/ 793751 h 868681"/>
                <a:gd name="connsiteX113" fmla="*/ 457200 w 1219200"/>
                <a:gd name="connsiteY113" fmla="*/ 808991 h 868681"/>
                <a:gd name="connsiteX114" fmla="*/ 436879 w 1219200"/>
                <a:gd name="connsiteY114" fmla="*/ 796291 h 868681"/>
                <a:gd name="connsiteX115" fmla="*/ 417829 w 1219200"/>
                <a:gd name="connsiteY115" fmla="*/ 820421 h 868681"/>
                <a:gd name="connsiteX116" fmla="*/ 436879 w 1219200"/>
                <a:gd name="connsiteY116" fmla="*/ 845186 h 868681"/>
                <a:gd name="connsiteX117" fmla="*/ 457200 w 1219200"/>
                <a:gd name="connsiteY117" fmla="*/ 833756 h 868681"/>
                <a:gd name="connsiteX118" fmla="*/ 457834 w 1219200"/>
                <a:gd name="connsiteY118" fmla="*/ 834391 h 868681"/>
                <a:gd name="connsiteX119" fmla="*/ 472439 w 1219200"/>
                <a:gd name="connsiteY119" fmla="*/ 848361 h 868681"/>
                <a:gd name="connsiteX120" fmla="*/ 436245 w 1219200"/>
                <a:gd name="connsiteY120" fmla="*/ 868046 h 868681"/>
                <a:gd name="connsiteX121" fmla="*/ 393700 w 1219200"/>
                <a:gd name="connsiteY121" fmla="*/ 821056 h 868681"/>
                <a:gd name="connsiteX122" fmla="*/ 436879 w 1219200"/>
                <a:gd name="connsiteY122" fmla="*/ 774066 h 868681"/>
                <a:gd name="connsiteX123" fmla="*/ 219075 w 1219200"/>
                <a:gd name="connsiteY123" fmla="*/ 742316 h 868681"/>
                <a:gd name="connsiteX124" fmla="*/ 219075 w 1219200"/>
                <a:gd name="connsiteY124" fmla="*/ 777241 h 868681"/>
                <a:gd name="connsiteX125" fmla="*/ 245110 w 1219200"/>
                <a:gd name="connsiteY125" fmla="*/ 777241 h 868681"/>
                <a:gd name="connsiteX126" fmla="*/ 245110 w 1219200"/>
                <a:gd name="connsiteY126" fmla="*/ 798831 h 868681"/>
                <a:gd name="connsiteX127" fmla="*/ 219075 w 1219200"/>
                <a:gd name="connsiteY127" fmla="*/ 798831 h 868681"/>
                <a:gd name="connsiteX128" fmla="*/ 219075 w 1219200"/>
                <a:gd name="connsiteY128" fmla="*/ 835661 h 868681"/>
                <a:gd name="connsiteX129" fmla="*/ 227965 w 1219200"/>
                <a:gd name="connsiteY129" fmla="*/ 846456 h 868681"/>
                <a:gd name="connsiteX130" fmla="*/ 245041 w 1219200"/>
                <a:gd name="connsiteY130" fmla="*/ 839979 h 868681"/>
                <a:gd name="connsiteX131" fmla="*/ 241935 w 1219200"/>
                <a:gd name="connsiteY131" fmla="*/ 862966 h 868681"/>
                <a:gd name="connsiteX132" fmla="*/ 219709 w 1219200"/>
                <a:gd name="connsiteY132" fmla="*/ 868681 h 868681"/>
                <a:gd name="connsiteX133" fmla="*/ 195579 w 1219200"/>
                <a:gd name="connsiteY133" fmla="*/ 842011 h 868681"/>
                <a:gd name="connsiteX134" fmla="*/ 195579 w 1219200"/>
                <a:gd name="connsiteY134" fmla="*/ 798831 h 868681"/>
                <a:gd name="connsiteX135" fmla="*/ 179704 w 1219200"/>
                <a:gd name="connsiteY135" fmla="*/ 798831 h 868681"/>
                <a:gd name="connsiteX136" fmla="*/ 179704 w 1219200"/>
                <a:gd name="connsiteY136" fmla="*/ 777241 h 868681"/>
                <a:gd name="connsiteX137" fmla="*/ 195579 w 1219200"/>
                <a:gd name="connsiteY137" fmla="*/ 777241 h 868681"/>
                <a:gd name="connsiteX138" fmla="*/ 195579 w 1219200"/>
                <a:gd name="connsiteY138" fmla="*/ 753746 h 868681"/>
                <a:gd name="connsiteX139" fmla="*/ 749935 w 1219200"/>
                <a:gd name="connsiteY139" fmla="*/ 741681 h 868681"/>
                <a:gd name="connsiteX140" fmla="*/ 763269 w 1219200"/>
                <a:gd name="connsiteY140" fmla="*/ 755016 h 868681"/>
                <a:gd name="connsiteX141" fmla="*/ 749935 w 1219200"/>
                <a:gd name="connsiteY141" fmla="*/ 768351 h 868681"/>
                <a:gd name="connsiteX142" fmla="*/ 736599 w 1219200"/>
                <a:gd name="connsiteY142" fmla="*/ 755016 h 868681"/>
                <a:gd name="connsiteX143" fmla="*/ 749935 w 1219200"/>
                <a:gd name="connsiteY143" fmla="*/ 741681 h 868681"/>
                <a:gd name="connsiteX144" fmla="*/ 154939 w 1219200"/>
                <a:gd name="connsiteY144" fmla="*/ 741681 h 868681"/>
                <a:gd name="connsiteX145" fmla="*/ 168275 w 1219200"/>
                <a:gd name="connsiteY145" fmla="*/ 755016 h 868681"/>
                <a:gd name="connsiteX146" fmla="*/ 154939 w 1219200"/>
                <a:gd name="connsiteY146" fmla="*/ 768351 h 868681"/>
                <a:gd name="connsiteX147" fmla="*/ 141605 w 1219200"/>
                <a:gd name="connsiteY147" fmla="*/ 755016 h 868681"/>
                <a:gd name="connsiteX148" fmla="*/ 154939 w 1219200"/>
                <a:gd name="connsiteY148" fmla="*/ 741681 h 868681"/>
                <a:gd name="connsiteX149" fmla="*/ 856614 w 1219200"/>
                <a:gd name="connsiteY149" fmla="*/ 741046 h 868681"/>
                <a:gd name="connsiteX150" fmla="*/ 856614 w 1219200"/>
                <a:gd name="connsiteY150" fmla="*/ 866141 h 868681"/>
                <a:gd name="connsiteX151" fmla="*/ 833120 w 1219200"/>
                <a:gd name="connsiteY151" fmla="*/ 866141 h 868681"/>
                <a:gd name="connsiteX152" fmla="*/ 833120 w 1219200"/>
                <a:gd name="connsiteY152" fmla="*/ 860426 h 868681"/>
                <a:gd name="connsiteX153" fmla="*/ 812799 w 1219200"/>
                <a:gd name="connsiteY153" fmla="*/ 868046 h 868681"/>
                <a:gd name="connsiteX154" fmla="*/ 775970 w 1219200"/>
                <a:gd name="connsiteY154" fmla="*/ 820421 h 868681"/>
                <a:gd name="connsiteX155" fmla="*/ 812165 w 1219200"/>
                <a:gd name="connsiteY155" fmla="*/ 774066 h 868681"/>
                <a:gd name="connsiteX156" fmla="*/ 833120 w 1219200"/>
                <a:gd name="connsiteY156" fmla="*/ 781051 h 868681"/>
                <a:gd name="connsiteX157" fmla="*/ 833120 w 1219200"/>
                <a:gd name="connsiteY157" fmla="*/ 752476 h 868681"/>
                <a:gd name="connsiteX158" fmla="*/ 707390 w 1219200"/>
                <a:gd name="connsiteY158" fmla="*/ 741046 h 868681"/>
                <a:gd name="connsiteX159" fmla="*/ 724534 w 1219200"/>
                <a:gd name="connsiteY159" fmla="*/ 743586 h 868681"/>
                <a:gd name="connsiteX160" fmla="*/ 724534 w 1219200"/>
                <a:gd name="connsiteY160" fmla="*/ 744221 h 868681"/>
                <a:gd name="connsiteX161" fmla="*/ 724534 w 1219200"/>
                <a:gd name="connsiteY161" fmla="*/ 762636 h 868681"/>
                <a:gd name="connsiteX162" fmla="*/ 713105 w 1219200"/>
                <a:gd name="connsiteY162" fmla="*/ 760731 h 868681"/>
                <a:gd name="connsiteX163" fmla="*/ 703579 w 1219200"/>
                <a:gd name="connsiteY163" fmla="*/ 768351 h 868681"/>
                <a:gd name="connsiteX164" fmla="*/ 703579 w 1219200"/>
                <a:gd name="connsiteY164" fmla="*/ 775336 h 868681"/>
                <a:gd name="connsiteX165" fmla="*/ 722629 w 1219200"/>
                <a:gd name="connsiteY165" fmla="*/ 775336 h 868681"/>
                <a:gd name="connsiteX166" fmla="*/ 722629 w 1219200"/>
                <a:gd name="connsiteY166" fmla="*/ 796926 h 868681"/>
                <a:gd name="connsiteX167" fmla="*/ 703579 w 1219200"/>
                <a:gd name="connsiteY167" fmla="*/ 796926 h 868681"/>
                <a:gd name="connsiteX168" fmla="*/ 703579 w 1219200"/>
                <a:gd name="connsiteY168" fmla="*/ 865506 h 868681"/>
                <a:gd name="connsiteX169" fmla="*/ 680084 w 1219200"/>
                <a:gd name="connsiteY169" fmla="*/ 865506 h 868681"/>
                <a:gd name="connsiteX170" fmla="*/ 680084 w 1219200"/>
                <a:gd name="connsiteY170" fmla="*/ 796926 h 868681"/>
                <a:gd name="connsiteX171" fmla="*/ 667385 w 1219200"/>
                <a:gd name="connsiteY171" fmla="*/ 796926 h 868681"/>
                <a:gd name="connsiteX172" fmla="*/ 667385 w 1219200"/>
                <a:gd name="connsiteY172" fmla="*/ 775336 h 868681"/>
                <a:gd name="connsiteX173" fmla="*/ 680084 w 1219200"/>
                <a:gd name="connsiteY173" fmla="*/ 775336 h 868681"/>
                <a:gd name="connsiteX174" fmla="*/ 680084 w 1219200"/>
                <a:gd name="connsiteY174" fmla="*/ 764541 h 868681"/>
                <a:gd name="connsiteX175" fmla="*/ 707390 w 1219200"/>
                <a:gd name="connsiteY175" fmla="*/ 741046 h 868681"/>
                <a:gd name="connsiteX176" fmla="*/ 282575 w 1219200"/>
                <a:gd name="connsiteY176" fmla="*/ 741046 h 868681"/>
                <a:gd name="connsiteX177" fmla="*/ 282575 w 1219200"/>
                <a:gd name="connsiteY177" fmla="*/ 782321 h 868681"/>
                <a:gd name="connsiteX178" fmla="*/ 304799 w 1219200"/>
                <a:gd name="connsiteY178" fmla="*/ 774066 h 868681"/>
                <a:gd name="connsiteX179" fmla="*/ 336549 w 1219200"/>
                <a:gd name="connsiteY179" fmla="*/ 815341 h 868681"/>
                <a:gd name="connsiteX180" fmla="*/ 336549 w 1219200"/>
                <a:gd name="connsiteY180" fmla="*/ 866141 h 868681"/>
                <a:gd name="connsiteX181" fmla="*/ 313689 w 1219200"/>
                <a:gd name="connsiteY181" fmla="*/ 866141 h 868681"/>
                <a:gd name="connsiteX182" fmla="*/ 313689 w 1219200"/>
                <a:gd name="connsiteY182" fmla="*/ 817246 h 868681"/>
                <a:gd name="connsiteX183" fmla="*/ 298450 w 1219200"/>
                <a:gd name="connsiteY183" fmla="*/ 796291 h 868681"/>
                <a:gd name="connsiteX184" fmla="*/ 282575 w 1219200"/>
                <a:gd name="connsiteY184" fmla="*/ 816611 h 868681"/>
                <a:gd name="connsiteX185" fmla="*/ 282575 w 1219200"/>
                <a:gd name="connsiteY185" fmla="*/ 866141 h 868681"/>
                <a:gd name="connsiteX186" fmla="*/ 259079 w 1219200"/>
                <a:gd name="connsiteY186" fmla="*/ 866141 h 868681"/>
                <a:gd name="connsiteX187" fmla="*/ 259079 w 1219200"/>
                <a:gd name="connsiteY187" fmla="*/ 752476 h 868681"/>
                <a:gd name="connsiteX188" fmla="*/ 92709 w 1219200"/>
                <a:gd name="connsiteY188" fmla="*/ 648336 h 868681"/>
                <a:gd name="connsiteX189" fmla="*/ 92709 w 1219200"/>
                <a:gd name="connsiteY189" fmla="*/ 649606 h 868681"/>
                <a:gd name="connsiteX190" fmla="*/ 92427 w 1219200"/>
                <a:gd name="connsiteY190" fmla="*/ 648959 h 868681"/>
                <a:gd name="connsiteX191" fmla="*/ 230504 w 1219200"/>
                <a:gd name="connsiteY191" fmla="*/ 643256 h 868681"/>
                <a:gd name="connsiteX192" fmla="*/ 215900 w 1219200"/>
                <a:gd name="connsiteY192" fmla="*/ 654686 h 868681"/>
                <a:gd name="connsiteX193" fmla="*/ 228599 w 1219200"/>
                <a:gd name="connsiteY193" fmla="*/ 667386 h 868681"/>
                <a:gd name="connsiteX194" fmla="*/ 245745 w 1219200"/>
                <a:gd name="connsiteY194" fmla="*/ 658496 h 868681"/>
                <a:gd name="connsiteX195" fmla="*/ 245745 w 1219200"/>
                <a:gd name="connsiteY195" fmla="*/ 647066 h 868681"/>
                <a:gd name="connsiteX196" fmla="*/ 230504 w 1219200"/>
                <a:gd name="connsiteY196" fmla="*/ 643256 h 868681"/>
                <a:gd name="connsiteX197" fmla="*/ 321310 w 1219200"/>
                <a:gd name="connsiteY197" fmla="*/ 614046 h 868681"/>
                <a:gd name="connsiteX198" fmla="*/ 306704 w 1219200"/>
                <a:gd name="connsiteY198" fmla="*/ 622301 h 868681"/>
                <a:gd name="connsiteX199" fmla="*/ 306704 w 1219200"/>
                <a:gd name="connsiteY199" fmla="*/ 656591 h 868681"/>
                <a:gd name="connsiteX200" fmla="*/ 323215 w 1219200"/>
                <a:gd name="connsiteY200" fmla="*/ 664846 h 868681"/>
                <a:gd name="connsiteX201" fmla="*/ 339090 w 1219200"/>
                <a:gd name="connsiteY201" fmla="*/ 640716 h 868681"/>
                <a:gd name="connsiteX202" fmla="*/ 338454 w 1219200"/>
                <a:gd name="connsiteY202" fmla="*/ 640716 h 868681"/>
                <a:gd name="connsiteX203" fmla="*/ 321310 w 1219200"/>
                <a:gd name="connsiteY203" fmla="*/ 614046 h 868681"/>
                <a:gd name="connsiteX204" fmla="*/ 1179195 w 1219200"/>
                <a:gd name="connsiteY204" fmla="*/ 612776 h 868681"/>
                <a:gd name="connsiteX205" fmla="*/ 1163320 w 1219200"/>
                <a:gd name="connsiteY205" fmla="*/ 629921 h 868681"/>
                <a:gd name="connsiteX206" fmla="*/ 1163954 w 1219200"/>
                <a:gd name="connsiteY206" fmla="*/ 629921 h 868681"/>
                <a:gd name="connsiteX207" fmla="*/ 1195704 w 1219200"/>
                <a:gd name="connsiteY207" fmla="*/ 629921 h 868681"/>
                <a:gd name="connsiteX208" fmla="*/ 1179195 w 1219200"/>
                <a:gd name="connsiteY208" fmla="*/ 612776 h 868681"/>
                <a:gd name="connsiteX209" fmla="*/ 689610 w 1219200"/>
                <a:gd name="connsiteY209" fmla="*/ 612776 h 868681"/>
                <a:gd name="connsiteX210" fmla="*/ 673735 w 1219200"/>
                <a:gd name="connsiteY210" fmla="*/ 629921 h 868681"/>
                <a:gd name="connsiteX211" fmla="*/ 674370 w 1219200"/>
                <a:gd name="connsiteY211" fmla="*/ 629921 h 868681"/>
                <a:gd name="connsiteX212" fmla="*/ 706120 w 1219200"/>
                <a:gd name="connsiteY212" fmla="*/ 629921 h 868681"/>
                <a:gd name="connsiteX213" fmla="*/ 689610 w 1219200"/>
                <a:gd name="connsiteY213" fmla="*/ 612776 h 868681"/>
                <a:gd name="connsiteX214" fmla="*/ 410845 w 1219200"/>
                <a:gd name="connsiteY214" fmla="*/ 612776 h 868681"/>
                <a:gd name="connsiteX215" fmla="*/ 395605 w 1219200"/>
                <a:gd name="connsiteY215" fmla="*/ 629921 h 868681"/>
                <a:gd name="connsiteX216" fmla="*/ 427355 w 1219200"/>
                <a:gd name="connsiteY216" fmla="*/ 629921 h 868681"/>
                <a:gd name="connsiteX217" fmla="*/ 410845 w 1219200"/>
                <a:gd name="connsiteY217" fmla="*/ 612776 h 868681"/>
                <a:gd name="connsiteX218" fmla="*/ 991870 w 1219200"/>
                <a:gd name="connsiteY218" fmla="*/ 594361 h 868681"/>
                <a:gd name="connsiteX219" fmla="*/ 1014095 w 1219200"/>
                <a:gd name="connsiteY219" fmla="*/ 594361 h 868681"/>
                <a:gd name="connsiteX220" fmla="*/ 1014095 w 1219200"/>
                <a:gd name="connsiteY220" fmla="*/ 643256 h 868681"/>
                <a:gd name="connsiteX221" fmla="*/ 1029334 w 1219200"/>
                <a:gd name="connsiteY221" fmla="*/ 664846 h 868681"/>
                <a:gd name="connsiteX222" fmla="*/ 1044575 w 1219200"/>
                <a:gd name="connsiteY222" fmla="*/ 644526 h 868681"/>
                <a:gd name="connsiteX223" fmla="*/ 1044575 w 1219200"/>
                <a:gd name="connsiteY223" fmla="*/ 594996 h 868681"/>
                <a:gd name="connsiteX224" fmla="*/ 1066799 w 1219200"/>
                <a:gd name="connsiteY224" fmla="*/ 594996 h 868681"/>
                <a:gd name="connsiteX225" fmla="*/ 1066799 w 1219200"/>
                <a:gd name="connsiteY225" fmla="*/ 684531 h 868681"/>
                <a:gd name="connsiteX226" fmla="*/ 1044575 w 1219200"/>
                <a:gd name="connsiteY226" fmla="*/ 684531 h 868681"/>
                <a:gd name="connsiteX227" fmla="*/ 1044575 w 1219200"/>
                <a:gd name="connsiteY227" fmla="*/ 678181 h 868681"/>
                <a:gd name="connsiteX228" fmla="*/ 1023620 w 1219200"/>
                <a:gd name="connsiteY228" fmla="*/ 686436 h 868681"/>
                <a:gd name="connsiteX229" fmla="*/ 991870 w 1219200"/>
                <a:gd name="connsiteY229" fmla="*/ 645161 h 868681"/>
                <a:gd name="connsiteX230" fmla="*/ 836295 w 1219200"/>
                <a:gd name="connsiteY230" fmla="*/ 594361 h 868681"/>
                <a:gd name="connsiteX231" fmla="*/ 858519 w 1219200"/>
                <a:gd name="connsiteY231" fmla="*/ 594361 h 868681"/>
                <a:gd name="connsiteX232" fmla="*/ 858519 w 1219200"/>
                <a:gd name="connsiteY232" fmla="*/ 643256 h 868681"/>
                <a:gd name="connsiteX233" fmla="*/ 873760 w 1219200"/>
                <a:gd name="connsiteY233" fmla="*/ 664846 h 868681"/>
                <a:gd name="connsiteX234" fmla="*/ 889000 w 1219200"/>
                <a:gd name="connsiteY234" fmla="*/ 644526 h 868681"/>
                <a:gd name="connsiteX235" fmla="*/ 889000 w 1219200"/>
                <a:gd name="connsiteY235" fmla="*/ 594996 h 868681"/>
                <a:gd name="connsiteX236" fmla="*/ 911224 w 1219200"/>
                <a:gd name="connsiteY236" fmla="*/ 594996 h 868681"/>
                <a:gd name="connsiteX237" fmla="*/ 911224 w 1219200"/>
                <a:gd name="connsiteY237" fmla="*/ 684531 h 868681"/>
                <a:gd name="connsiteX238" fmla="*/ 889000 w 1219200"/>
                <a:gd name="connsiteY238" fmla="*/ 684531 h 868681"/>
                <a:gd name="connsiteX239" fmla="*/ 889000 w 1219200"/>
                <a:gd name="connsiteY239" fmla="*/ 678181 h 868681"/>
                <a:gd name="connsiteX240" fmla="*/ 868045 w 1219200"/>
                <a:gd name="connsiteY240" fmla="*/ 686436 h 868681"/>
                <a:gd name="connsiteX241" fmla="*/ 836295 w 1219200"/>
                <a:gd name="connsiteY241" fmla="*/ 645161 h 868681"/>
                <a:gd name="connsiteX242" fmla="*/ 1181099 w 1219200"/>
                <a:gd name="connsiteY242" fmla="*/ 592456 h 868681"/>
                <a:gd name="connsiteX243" fmla="*/ 1219200 w 1219200"/>
                <a:gd name="connsiteY243" fmla="*/ 639446 h 868681"/>
                <a:gd name="connsiteX244" fmla="*/ 1218564 w 1219200"/>
                <a:gd name="connsiteY244" fmla="*/ 639446 h 868681"/>
                <a:gd name="connsiteX245" fmla="*/ 1218564 w 1219200"/>
                <a:gd name="connsiteY245" fmla="*/ 647066 h 868681"/>
                <a:gd name="connsiteX246" fmla="*/ 1163954 w 1219200"/>
                <a:gd name="connsiteY246" fmla="*/ 647066 h 868681"/>
                <a:gd name="connsiteX247" fmla="*/ 1183004 w 1219200"/>
                <a:gd name="connsiteY247" fmla="*/ 664846 h 868681"/>
                <a:gd name="connsiteX248" fmla="*/ 1198879 w 1219200"/>
                <a:gd name="connsiteY248" fmla="*/ 658496 h 868681"/>
                <a:gd name="connsiteX249" fmla="*/ 1214754 w 1219200"/>
                <a:gd name="connsiteY249" fmla="*/ 671831 h 868681"/>
                <a:gd name="connsiteX250" fmla="*/ 1182370 w 1219200"/>
                <a:gd name="connsiteY250" fmla="*/ 686436 h 868681"/>
                <a:gd name="connsiteX251" fmla="*/ 1141095 w 1219200"/>
                <a:gd name="connsiteY251" fmla="*/ 639446 h 868681"/>
                <a:gd name="connsiteX252" fmla="*/ 1181099 w 1219200"/>
                <a:gd name="connsiteY252" fmla="*/ 592456 h 868681"/>
                <a:gd name="connsiteX253" fmla="*/ 691515 w 1219200"/>
                <a:gd name="connsiteY253" fmla="*/ 592456 h 868681"/>
                <a:gd name="connsiteX254" fmla="*/ 729614 w 1219200"/>
                <a:gd name="connsiteY254" fmla="*/ 639446 h 868681"/>
                <a:gd name="connsiteX255" fmla="*/ 728980 w 1219200"/>
                <a:gd name="connsiteY255" fmla="*/ 639446 h 868681"/>
                <a:gd name="connsiteX256" fmla="*/ 728980 w 1219200"/>
                <a:gd name="connsiteY256" fmla="*/ 647066 h 868681"/>
                <a:gd name="connsiteX257" fmla="*/ 674370 w 1219200"/>
                <a:gd name="connsiteY257" fmla="*/ 647066 h 868681"/>
                <a:gd name="connsiteX258" fmla="*/ 693420 w 1219200"/>
                <a:gd name="connsiteY258" fmla="*/ 664846 h 868681"/>
                <a:gd name="connsiteX259" fmla="*/ 709295 w 1219200"/>
                <a:gd name="connsiteY259" fmla="*/ 658496 h 868681"/>
                <a:gd name="connsiteX260" fmla="*/ 725170 w 1219200"/>
                <a:gd name="connsiteY260" fmla="*/ 671831 h 868681"/>
                <a:gd name="connsiteX261" fmla="*/ 692784 w 1219200"/>
                <a:gd name="connsiteY261" fmla="*/ 686436 h 868681"/>
                <a:gd name="connsiteX262" fmla="*/ 651510 w 1219200"/>
                <a:gd name="connsiteY262" fmla="*/ 639446 h 868681"/>
                <a:gd name="connsiteX263" fmla="*/ 691515 w 1219200"/>
                <a:gd name="connsiteY263" fmla="*/ 592456 h 868681"/>
                <a:gd name="connsiteX264" fmla="*/ 412114 w 1219200"/>
                <a:gd name="connsiteY264" fmla="*/ 592456 h 868681"/>
                <a:gd name="connsiteX265" fmla="*/ 448310 w 1219200"/>
                <a:gd name="connsiteY265" fmla="*/ 639446 h 868681"/>
                <a:gd name="connsiteX266" fmla="*/ 448310 w 1219200"/>
                <a:gd name="connsiteY266" fmla="*/ 647066 h 868681"/>
                <a:gd name="connsiteX267" fmla="*/ 395605 w 1219200"/>
                <a:gd name="connsiteY267" fmla="*/ 647066 h 868681"/>
                <a:gd name="connsiteX268" fmla="*/ 415290 w 1219200"/>
                <a:gd name="connsiteY268" fmla="*/ 664846 h 868681"/>
                <a:gd name="connsiteX269" fmla="*/ 430530 w 1219200"/>
                <a:gd name="connsiteY269" fmla="*/ 658496 h 868681"/>
                <a:gd name="connsiteX270" fmla="*/ 446405 w 1219200"/>
                <a:gd name="connsiteY270" fmla="*/ 671831 h 868681"/>
                <a:gd name="connsiteX271" fmla="*/ 413385 w 1219200"/>
                <a:gd name="connsiteY271" fmla="*/ 686436 h 868681"/>
                <a:gd name="connsiteX272" fmla="*/ 372110 w 1219200"/>
                <a:gd name="connsiteY272" fmla="*/ 640081 h 868681"/>
                <a:gd name="connsiteX273" fmla="*/ 412114 w 1219200"/>
                <a:gd name="connsiteY273" fmla="*/ 592456 h 868681"/>
                <a:gd name="connsiteX274" fmla="*/ 326390 w 1219200"/>
                <a:gd name="connsiteY274" fmla="*/ 592456 h 868681"/>
                <a:gd name="connsiteX275" fmla="*/ 361314 w 1219200"/>
                <a:gd name="connsiteY275" fmla="*/ 639446 h 868681"/>
                <a:gd name="connsiteX276" fmla="*/ 326390 w 1219200"/>
                <a:gd name="connsiteY276" fmla="*/ 686436 h 868681"/>
                <a:gd name="connsiteX277" fmla="*/ 306070 w 1219200"/>
                <a:gd name="connsiteY277" fmla="*/ 678816 h 868681"/>
                <a:gd name="connsiteX278" fmla="*/ 306070 w 1219200"/>
                <a:gd name="connsiteY278" fmla="*/ 706121 h 868681"/>
                <a:gd name="connsiteX279" fmla="*/ 283845 w 1219200"/>
                <a:gd name="connsiteY279" fmla="*/ 717551 h 868681"/>
                <a:gd name="connsiteX280" fmla="*/ 283845 w 1219200"/>
                <a:gd name="connsiteY280" fmla="*/ 594361 h 868681"/>
                <a:gd name="connsiteX281" fmla="*/ 306070 w 1219200"/>
                <a:gd name="connsiteY281" fmla="*/ 594361 h 868681"/>
                <a:gd name="connsiteX282" fmla="*/ 306070 w 1219200"/>
                <a:gd name="connsiteY282" fmla="*/ 600711 h 868681"/>
                <a:gd name="connsiteX283" fmla="*/ 326390 w 1219200"/>
                <a:gd name="connsiteY283" fmla="*/ 592456 h 868681"/>
                <a:gd name="connsiteX284" fmla="*/ 231775 w 1219200"/>
                <a:gd name="connsiteY284" fmla="*/ 592456 h 868681"/>
                <a:gd name="connsiteX285" fmla="*/ 268605 w 1219200"/>
                <a:gd name="connsiteY285" fmla="*/ 624206 h 868681"/>
                <a:gd name="connsiteX286" fmla="*/ 268605 w 1219200"/>
                <a:gd name="connsiteY286" fmla="*/ 684531 h 868681"/>
                <a:gd name="connsiteX287" fmla="*/ 267970 w 1219200"/>
                <a:gd name="connsiteY287" fmla="*/ 684531 h 868681"/>
                <a:gd name="connsiteX288" fmla="*/ 245745 w 1219200"/>
                <a:gd name="connsiteY288" fmla="*/ 684531 h 868681"/>
                <a:gd name="connsiteX289" fmla="*/ 245745 w 1219200"/>
                <a:gd name="connsiteY289" fmla="*/ 678181 h 868681"/>
                <a:gd name="connsiteX290" fmla="*/ 224790 w 1219200"/>
                <a:gd name="connsiteY290" fmla="*/ 686436 h 868681"/>
                <a:gd name="connsiteX291" fmla="*/ 193040 w 1219200"/>
                <a:gd name="connsiteY291" fmla="*/ 655321 h 868681"/>
                <a:gd name="connsiteX292" fmla="*/ 227965 w 1219200"/>
                <a:gd name="connsiteY292" fmla="*/ 624841 h 868681"/>
                <a:gd name="connsiteX293" fmla="*/ 245745 w 1219200"/>
                <a:gd name="connsiteY293" fmla="*/ 628651 h 868681"/>
                <a:gd name="connsiteX294" fmla="*/ 245745 w 1219200"/>
                <a:gd name="connsiteY294" fmla="*/ 623571 h 868681"/>
                <a:gd name="connsiteX295" fmla="*/ 230504 w 1219200"/>
                <a:gd name="connsiteY295" fmla="*/ 611506 h 868681"/>
                <a:gd name="connsiteX296" fmla="*/ 209549 w 1219200"/>
                <a:gd name="connsiteY296" fmla="*/ 617221 h 868681"/>
                <a:gd name="connsiteX297" fmla="*/ 200659 w 1219200"/>
                <a:gd name="connsiteY297" fmla="*/ 601346 h 868681"/>
                <a:gd name="connsiteX298" fmla="*/ 231775 w 1219200"/>
                <a:gd name="connsiteY298" fmla="*/ 592456 h 868681"/>
                <a:gd name="connsiteX299" fmla="*/ 1125855 w 1219200"/>
                <a:gd name="connsiteY299" fmla="*/ 591821 h 868681"/>
                <a:gd name="connsiteX300" fmla="*/ 1142364 w 1219200"/>
                <a:gd name="connsiteY300" fmla="*/ 598171 h 868681"/>
                <a:gd name="connsiteX301" fmla="*/ 1141730 w 1219200"/>
                <a:gd name="connsiteY301" fmla="*/ 598806 h 868681"/>
                <a:gd name="connsiteX302" fmla="*/ 1132840 w 1219200"/>
                <a:gd name="connsiteY302" fmla="*/ 621031 h 868681"/>
                <a:gd name="connsiteX303" fmla="*/ 1120140 w 1219200"/>
                <a:gd name="connsiteY303" fmla="*/ 615316 h 868681"/>
                <a:gd name="connsiteX304" fmla="*/ 1106805 w 1219200"/>
                <a:gd name="connsiteY304" fmla="*/ 635001 h 868681"/>
                <a:gd name="connsiteX305" fmla="*/ 1106805 w 1219200"/>
                <a:gd name="connsiteY305" fmla="*/ 683896 h 868681"/>
                <a:gd name="connsiteX306" fmla="*/ 1084579 w 1219200"/>
                <a:gd name="connsiteY306" fmla="*/ 683896 h 868681"/>
                <a:gd name="connsiteX307" fmla="*/ 1084579 w 1219200"/>
                <a:gd name="connsiteY307" fmla="*/ 593726 h 868681"/>
                <a:gd name="connsiteX308" fmla="*/ 1106805 w 1219200"/>
                <a:gd name="connsiteY308" fmla="*/ 593726 h 868681"/>
                <a:gd name="connsiteX309" fmla="*/ 1106805 w 1219200"/>
                <a:gd name="connsiteY309" fmla="*/ 600076 h 868681"/>
                <a:gd name="connsiteX310" fmla="*/ 1125855 w 1219200"/>
                <a:gd name="connsiteY310" fmla="*/ 591821 h 868681"/>
                <a:gd name="connsiteX311" fmla="*/ 47625 w 1219200"/>
                <a:gd name="connsiteY311" fmla="*/ 563881 h 868681"/>
                <a:gd name="connsiteX312" fmla="*/ 90170 w 1219200"/>
                <a:gd name="connsiteY312" fmla="*/ 582296 h 868681"/>
                <a:gd name="connsiteX313" fmla="*/ 73659 w 1219200"/>
                <a:gd name="connsiteY313" fmla="*/ 598806 h 868681"/>
                <a:gd name="connsiteX314" fmla="*/ 46355 w 1219200"/>
                <a:gd name="connsiteY314" fmla="*/ 586741 h 868681"/>
                <a:gd name="connsiteX315" fmla="*/ 28575 w 1219200"/>
                <a:gd name="connsiteY315" fmla="*/ 598171 h 868681"/>
                <a:gd name="connsiteX316" fmla="*/ 33655 w 1219200"/>
                <a:gd name="connsiteY316" fmla="*/ 606426 h 868681"/>
                <a:gd name="connsiteX317" fmla="*/ 52704 w 1219200"/>
                <a:gd name="connsiteY317" fmla="*/ 612776 h 868681"/>
                <a:gd name="connsiteX318" fmla="*/ 81915 w 1219200"/>
                <a:gd name="connsiteY318" fmla="*/ 624841 h 868681"/>
                <a:gd name="connsiteX319" fmla="*/ 92427 w 1219200"/>
                <a:gd name="connsiteY319" fmla="*/ 648959 h 868681"/>
                <a:gd name="connsiteX320" fmla="*/ 79454 w 1219200"/>
                <a:gd name="connsiteY320" fmla="*/ 677626 h 868681"/>
                <a:gd name="connsiteX321" fmla="*/ 47625 w 1219200"/>
                <a:gd name="connsiteY321" fmla="*/ 686436 h 868681"/>
                <a:gd name="connsiteX322" fmla="*/ 0 w 1219200"/>
                <a:gd name="connsiteY322" fmla="*/ 664846 h 868681"/>
                <a:gd name="connsiteX323" fmla="*/ 16510 w 1219200"/>
                <a:gd name="connsiteY323" fmla="*/ 650241 h 868681"/>
                <a:gd name="connsiteX324" fmla="*/ 46989 w 1219200"/>
                <a:gd name="connsiteY324" fmla="*/ 664211 h 868681"/>
                <a:gd name="connsiteX325" fmla="*/ 68579 w 1219200"/>
                <a:gd name="connsiteY325" fmla="*/ 649606 h 868681"/>
                <a:gd name="connsiteX326" fmla="*/ 61595 w 1219200"/>
                <a:gd name="connsiteY326" fmla="*/ 640081 h 868681"/>
                <a:gd name="connsiteX327" fmla="*/ 41909 w 1219200"/>
                <a:gd name="connsiteY327" fmla="*/ 634366 h 868681"/>
                <a:gd name="connsiteX328" fmla="*/ 14605 w 1219200"/>
                <a:gd name="connsiteY328" fmla="*/ 623571 h 868681"/>
                <a:gd name="connsiteX329" fmla="*/ 4444 w 1219200"/>
                <a:gd name="connsiteY329" fmla="*/ 599441 h 868681"/>
                <a:gd name="connsiteX330" fmla="*/ 47625 w 1219200"/>
                <a:gd name="connsiteY330" fmla="*/ 563881 h 868681"/>
                <a:gd name="connsiteX331" fmla="*/ 814070 w 1219200"/>
                <a:gd name="connsiteY331" fmla="*/ 560071 h 868681"/>
                <a:gd name="connsiteX332" fmla="*/ 830579 w 1219200"/>
                <a:gd name="connsiteY332" fmla="*/ 562611 h 868681"/>
                <a:gd name="connsiteX333" fmla="*/ 829945 w 1219200"/>
                <a:gd name="connsiteY333" fmla="*/ 562611 h 868681"/>
                <a:gd name="connsiteX334" fmla="*/ 829945 w 1219200"/>
                <a:gd name="connsiteY334" fmla="*/ 581026 h 868681"/>
                <a:gd name="connsiteX335" fmla="*/ 818515 w 1219200"/>
                <a:gd name="connsiteY335" fmla="*/ 579121 h 868681"/>
                <a:gd name="connsiteX336" fmla="*/ 808989 w 1219200"/>
                <a:gd name="connsiteY336" fmla="*/ 586741 h 868681"/>
                <a:gd name="connsiteX337" fmla="*/ 808989 w 1219200"/>
                <a:gd name="connsiteY337" fmla="*/ 594361 h 868681"/>
                <a:gd name="connsiteX338" fmla="*/ 824230 w 1219200"/>
                <a:gd name="connsiteY338" fmla="*/ 594361 h 868681"/>
                <a:gd name="connsiteX339" fmla="*/ 824230 w 1219200"/>
                <a:gd name="connsiteY339" fmla="*/ 615951 h 868681"/>
                <a:gd name="connsiteX340" fmla="*/ 808989 w 1219200"/>
                <a:gd name="connsiteY340" fmla="*/ 615951 h 868681"/>
                <a:gd name="connsiteX341" fmla="*/ 808989 w 1219200"/>
                <a:gd name="connsiteY341" fmla="*/ 684531 h 868681"/>
                <a:gd name="connsiteX342" fmla="*/ 786765 w 1219200"/>
                <a:gd name="connsiteY342" fmla="*/ 684531 h 868681"/>
                <a:gd name="connsiteX343" fmla="*/ 786765 w 1219200"/>
                <a:gd name="connsiteY343" fmla="*/ 615951 h 868681"/>
                <a:gd name="connsiteX344" fmla="*/ 775970 w 1219200"/>
                <a:gd name="connsiteY344" fmla="*/ 615951 h 868681"/>
                <a:gd name="connsiteX345" fmla="*/ 775970 w 1219200"/>
                <a:gd name="connsiteY345" fmla="*/ 594361 h 868681"/>
                <a:gd name="connsiteX346" fmla="*/ 786765 w 1219200"/>
                <a:gd name="connsiteY346" fmla="*/ 594361 h 868681"/>
                <a:gd name="connsiteX347" fmla="*/ 786765 w 1219200"/>
                <a:gd name="connsiteY347" fmla="*/ 583566 h 868681"/>
                <a:gd name="connsiteX348" fmla="*/ 814070 w 1219200"/>
                <a:gd name="connsiteY348" fmla="*/ 560071 h 868681"/>
                <a:gd name="connsiteX349" fmla="*/ 957579 w 1219200"/>
                <a:gd name="connsiteY349" fmla="*/ 559436 h 868681"/>
                <a:gd name="connsiteX350" fmla="*/ 957579 w 1219200"/>
                <a:gd name="connsiteY350" fmla="*/ 594361 h 868681"/>
                <a:gd name="connsiteX351" fmla="*/ 979170 w 1219200"/>
                <a:gd name="connsiteY351" fmla="*/ 594361 h 868681"/>
                <a:gd name="connsiteX352" fmla="*/ 979170 w 1219200"/>
                <a:gd name="connsiteY352" fmla="*/ 615951 h 868681"/>
                <a:gd name="connsiteX353" fmla="*/ 957579 w 1219200"/>
                <a:gd name="connsiteY353" fmla="*/ 615951 h 868681"/>
                <a:gd name="connsiteX354" fmla="*/ 957579 w 1219200"/>
                <a:gd name="connsiteY354" fmla="*/ 654051 h 868681"/>
                <a:gd name="connsiteX355" fmla="*/ 966470 w 1219200"/>
                <a:gd name="connsiteY355" fmla="*/ 664846 h 868681"/>
                <a:gd name="connsiteX356" fmla="*/ 981075 w 1219200"/>
                <a:gd name="connsiteY356" fmla="*/ 658496 h 868681"/>
                <a:gd name="connsiteX357" fmla="*/ 977900 w 1219200"/>
                <a:gd name="connsiteY357" fmla="*/ 681356 h 868681"/>
                <a:gd name="connsiteX358" fmla="*/ 959485 w 1219200"/>
                <a:gd name="connsiteY358" fmla="*/ 686436 h 868681"/>
                <a:gd name="connsiteX359" fmla="*/ 935355 w 1219200"/>
                <a:gd name="connsiteY359" fmla="*/ 659766 h 868681"/>
                <a:gd name="connsiteX360" fmla="*/ 935355 w 1219200"/>
                <a:gd name="connsiteY360" fmla="*/ 615951 h 868681"/>
                <a:gd name="connsiteX361" fmla="*/ 922655 w 1219200"/>
                <a:gd name="connsiteY361" fmla="*/ 615951 h 868681"/>
                <a:gd name="connsiteX362" fmla="*/ 922655 w 1219200"/>
                <a:gd name="connsiteY362" fmla="*/ 594361 h 868681"/>
                <a:gd name="connsiteX363" fmla="*/ 935355 w 1219200"/>
                <a:gd name="connsiteY363" fmla="*/ 594361 h 868681"/>
                <a:gd name="connsiteX364" fmla="*/ 935355 w 1219200"/>
                <a:gd name="connsiteY364" fmla="*/ 570866 h 868681"/>
                <a:gd name="connsiteX365" fmla="*/ 586739 w 1219200"/>
                <a:gd name="connsiteY365" fmla="*/ 559436 h 868681"/>
                <a:gd name="connsiteX366" fmla="*/ 586739 w 1219200"/>
                <a:gd name="connsiteY366" fmla="*/ 600711 h 868681"/>
                <a:gd name="connsiteX367" fmla="*/ 607695 w 1219200"/>
                <a:gd name="connsiteY367" fmla="*/ 592456 h 868681"/>
                <a:gd name="connsiteX368" fmla="*/ 639445 w 1219200"/>
                <a:gd name="connsiteY368" fmla="*/ 633731 h 868681"/>
                <a:gd name="connsiteX369" fmla="*/ 639445 w 1219200"/>
                <a:gd name="connsiteY369" fmla="*/ 684531 h 868681"/>
                <a:gd name="connsiteX370" fmla="*/ 617220 w 1219200"/>
                <a:gd name="connsiteY370" fmla="*/ 684531 h 868681"/>
                <a:gd name="connsiteX371" fmla="*/ 617220 w 1219200"/>
                <a:gd name="connsiteY371" fmla="*/ 635636 h 868681"/>
                <a:gd name="connsiteX372" fmla="*/ 601980 w 1219200"/>
                <a:gd name="connsiteY372" fmla="*/ 614681 h 868681"/>
                <a:gd name="connsiteX373" fmla="*/ 586739 w 1219200"/>
                <a:gd name="connsiteY373" fmla="*/ 635001 h 868681"/>
                <a:gd name="connsiteX374" fmla="*/ 586739 w 1219200"/>
                <a:gd name="connsiteY374" fmla="*/ 684531 h 868681"/>
                <a:gd name="connsiteX375" fmla="*/ 564515 w 1219200"/>
                <a:gd name="connsiteY375" fmla="*/ 684531 h 868681"/>
                <a:gd name="connsiteX376" fmla="*/ 564515 w 1219200"/>
                <a:gd name="connsiteY376" fmla="*/ 570866 h 868681"/>
                <a:gd name="connsiteX377" fmla="*/ 529590 w 1219200"/>
                <a:gd name="connsiteY377" fmla="*/ 559436 h 868681"/>
                <a:gd name="connsiteX378" fmla="*/ 529590 w 1219200"/>
                <a:gd name="connsiteY378" fmla="*/ 594361 h 868681"/>
                <a:gd name="connsiteX379" fmla="*/ 550545 w 1219200"/>
                <a:gd name="connsiteY379" fmla="*/ 594361 h 868681"/>
                <a:gd name="connsiteX380" fmla="*/ 550545 w 1219200"/>
                <a:gd name="connsiteY380" fmla="*/ 615951 h 868681"/>
                <a:gd name="connsiteX381" fmla="*/ 529590 w 1219200"/>
                <a:gd name="connsiteY381" fmla="*/ 615951 h 868681"/>
                <a:gd name="connsiteX382" fmla="*/ 529590 w 1219200"/>
                <a:gd name="connsiteY382" fmla="*/ 654051 h 868681"/>
                <a:gd name="connsiteX383" fmla="*/ 538480 w 1219200"/>
                <a:gd name="connsiteY383" fmla="*/ 664846 h 868681"/>
                <a:gd name="connsiteX384" fmla="*/ 553084 w 1219200"/>
                <a:gd name="connsiteY384" fmla="*/ 658496 h 868681"/>
                <a:gd name="connsiteX385" fmla="*/ 549909 w 1219200"/>
                <a:gd name="connsiteY385" fmla="*/ 681356 h 868681"/>
                <a:gd name="connsiteX386" fmla="*/ 531495 w 1219200"/>
                <a:gd name="connsiteY386" fmla="*/ 686436 h 868681"/>
                <a:gd name="connsiteX387" fmla="*/ 507364 w 1219200"/>
                <a:gd name="connsiteY387" fmla="*/ 659766 h 868681"/>
                <a:gd name="connsiteX388" fmla="*/ 507364 w 1219200"/>
                <a:gd name="connsiteY388" fmla="*/ 615951 h 868681"/>
                <a:gd name="connsiteX389" fmla="*/ 491489 w 1219200"/>
                <a:gd name="connsiteY389" fmla="*/ 615951 h 868681"/>
                <a:gd name="connsiteX390" fmla="*/ 491489 w 1219200"/>
                <a:gd name="connsiteY390" fmla="*/ 594361 h 868681"/>
                <a:gd name="connsiteX391" fmla="*/ 507364 w 1219200"/>
                <a:gd name="connsiteY391" fmla="*/ 594361 h 868681"/>
                <a:gd name="connsiteX392" fmla="*/ 507364 w 1219200"/>
                <a:gd name="connsiteY392" fmla="*/ 570866 h 868681"/>
                <a:gd name="connsiteX393" fmla="*/ 128269 w 1219200"/>
                <a:gd name="connsiteY393" fmla="*/ 559436 h 868681"/>
                <a:gd name="connsiteX394" fmla="*/ 128269 w 1219200"/>
                <a:gd name="connsiteY394" fmla="*/ 600711 h 868681"/>
                <a:gd name="connsiteX395" fmla="*/ 149224 w 1219200"/>
                <a:gd name="connsiteY395" fmla="*/ 592456 h 868681"/>
                <a:gd name="connsiteX396" fmla="*/ 180974 w 1219200"/>
                <a:gd name="connsiteY396" fmla="*/ 633731 h 868681"/>
                <a:gd name="connsiteX397" fmla="*/ 180974 w 1219200"/>
                <a:gd name="connsiteY397" fmla="*/ 684531 h 868681"/>
                <a:gd name="connsiteX398" fmla="*/ 158750 w 1219200"/>
                <a:gd name="connsiteY398" fmla="*/ 684531 h 868681"/>
                <a:gd name="connsiteX399" fmla="*/ 158750 w 1219200"/>
                <a:gd name="connsiteY399" fmla="*/ 635636 h 868681"/>
                <a:gd name="connsiteX400" fmla="*/ 143510 w 1219200"/>
                <a:gd name="connsiteY400" fmla="*/ 614681 h 868681"/>
                <a:gd name="connsiteX401" fmla="*/ 128269 w 1219200"/>
                <a:gd name="connsiteY401" fmla="*/ 635001 h 868681"/>
                <a:gd name="connsiteX402" fmla="*/ 128269 w 1219200"/>
                <a:gd name="connsiteY402" fmla="*/ 684531 h 868681"/>
                <a:gd name="connsiteX403" fmla="*/ 106045 w 1219200"/>
                <a:gd name="connsiteY403" fmla="*/ 684531 h 868681"/>
                <a:gd name="connsiteX404" fmla="*/ 106045 w 1219200"/>
                <a:gd name="connsiteY404" fmla="*/ 570866 h 868681"/>
                <a:gd name="connsiteX405" fmla="*/ 269875 w 1219200"/>
                <a:gd name="connsiteY405" fmla="*/ 635 h 868681"/>
                <a:gd name="connsiteX406" fmla="*/ 501015 w 1219200"/>
                <a:gd name="connsiteY406" fmla="*/ 635 h 868681"/>
                <a:gd name="connsiteX407" fmla="*/ 554989 w 1219200"/>
                <a:gd name="connsiteY407" fmla="*/ 94615 h 868681"/>
                <a:gd name="connsiteX408" fmla="*/ 391795 w 1219200"/>
                <a:gd name="connsiteY408" fmla="*/ 94615 h 868681"/>
                <a:gd name="connsiteX409" fmla="*/ 391795 w 1219200"/>
                <a:gd name="connsiteY409" fmla="*/ 161925 h 868681"/>
                <a:gd name="connsiteX410" fmla="*/ 539114 w 1219200"/>
                <a:gd name="connsiteY410" fmla="*/ 161925 h 868681"/>
                <a:gd name="connsiteX411" fmla="*/ 539114 w 1219200"/>
                <a:gd name="connsiteY411" fmla="*/ 247650 h 868681"/>
                <a:gd name="connsiteX412" fmla="*/ 391795 w 1219200"/>
                <a:gd name="connsiteY412" fmla="*/ 247650 h 868681"/>
                <a:gd name="connsiteX413" fmla="*/ 391795 w 1219200"/>
                <a:gd name="connsiteY413" fmla="*/ 314325 h 868681"/>
                <a:gd name="connsiteX414" fmla="*/ 595629 w 1219200"/>
                <a:gd name="connsiteY414" fmla="*/ 314325 h 868681"/>
                <a:gd name="connsiteX415" fmla="*/ 595629 w 1219200"/>
                <a:gd name="connsiteY415" fmla="*/ 408305 h 868681"/>
                <a:gd name="connsiteX416" fmla="*/ 269875 w 1219200"/>
                <a:gd name="connsiteY416" fmla="*/ 408305 h 868681"/>
                <a:gd name="connsiteX417" fmla="*/ 539114 w 1219200"/>
                <a:gd name="connsiteY417" fmla="*/ 0 h 868681"/>
                <a:gd name="connsiteX418" fmla="*/ 674370 w 1219200"/>
                <a:gd name="connsiteY418" fmla="*/ 0 h 868681"/>
                <a:gd name="connsiteX419" fmla="*/ 743584 w 1219200"/>
                <a:gd name="connsiteY419" fmla="*/ 132715 h 868681"/>
                <a:gd name="connsiteX420" fmla="*/ 812799 w 1219200"/>
                <a:gd name="connsiteY420" fmla="*/ 0 h 868681"/>
                <a:gd name="connsiteX421" fmla="*/ 946150 w 1219200"/>
                <a:gd name="connsiteY421" fmla="*/ 0 h 868681"/>
                <a:gd name="connsiteX422" fmla="*/ 803275 w 1219200"/>
                <a:gd name="connsiteY422" fmla="*/ 246380 h 868681"/>
                <a:gd name="connsiteX423" fmla="*/ 803275 w 1219200"/>
                <a:gd name="connsiteY423" fmla="*/ 407670 h 868681"/>
                <a:gd name="connsiteX424" fmla="*/ 681355 w 1219200"/>
                <a:gd name="connsiteY424" fmla="*/ 407670 h 868681"/>
                <a:gd name="connsiteX425" fmla="*/ 681355 w 1219200"/>
                <a:gd name="connsiteY425" fmla="*/ 246380 h 868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Lst>
              <a:rect l="l" t="t" r="r" b="b"/>
              <a:pathLst>
                <a:path w="1219200" h="868681">
                  <a:moveTo>
                    <a:pt x="245110" y="839471"/>
                  </a:moveTo>
                  <a:lnTo>
                    <a:pt x="246379" y="839471"/>
                  </a:lnTo>
                  <a:lnTo>
                    <a:pt x="245041" y="839979"/>
                  </a:lnTo>
                  <a:close/>
                  <a:moveTo>
                    <a:pt x="522605" y="796926"/>
                  </a:moveTo>
                  <a:cubicBezTo>
                    <a:pt x="509905" y="796926"/>
                    <a:pt x="504189" y="807721"/>
                    <a:pt x="504189" y="821691"/>
                  </a:cubicBezTo>
                  <a:cubicBezTo>
                    <a:pt x="504189" y="831216"/>
                    <a:pt x="508000" y="845821"/>
                    <a:pt x="522605" y="845821"/>
                  </a:cubicBezTo>
                  <a:cubicBezTo>
                    <a:pt x="537845" y="845821"/>
                    <a:pt x="541019" y="831851"/>
                    <a:pt x="541019" y="821691"/>
                  </a:cubicBezTo>
                  <a:cubicBezTo>
                    <a:pt x="541019" y="807721"/>
                    <a:pt x="535305" y="796926"/>
                    <a:pt x="522605" y="796926"/>
                  </a:cubicBezTo>
                  <a:close/>
                  <a:moveTo>
                    <a:pt x="817245" y="796291"/>
                  </a:moveTo>
                  <a:cubicBezTo>
                    <a:pt x="803909" y="796291"/>
                    <a:pt x="800735" y="807086"/>
                    <a:pt x="800735" y="819786"/>
                  </a:cubicBezTo>
                  <a:cubicBezTo>
                    <a:pt x="800735" y="834391"/>
                    <a:pt x="805180" y="846456"/>
                    <a:pt x="817879" y="846456"/>
                  </a:cubicBezTo>
                  <a:cubicBezTo>
                    <a:pt x="824230" y="846456"/>
                    <a:pt x="828674" y="843281"/>
                    <a:pt x="833754" y="838836"/>
                  </a:cubicBezTo>
                  <a:lnTo>
                    <a:pt x="833754" y="838201"/>
                  </a:lnTo>
                  <a:lnTo>
                    <a:pt x="833754" y="803911"/>
                  </a:lnTo>
                  <a:cubicBezTo>
                    <a:pt x="828674" y="798831"/>
                    <a:pt x="824230" y="796291"/>
                    <a:pt x="817245" y="796291"/>
                  </a:cubicBezTo>
                  <a:close/>
                  <a:moveTo>
                    <a:pt x="1179195" y="794386"/>
                  </a:moveTo>
                  <a:cubicBezTo>
                    <a:pt x="1168400" y="794386"/>
                    <a:pt x="1163954" y="803911"/>
                    <a:pt x="1163320" y="811531"/>
                  </a:cubicBezTo>
                  <a:lnTo>
                    <a:pt x="1163954" y="811531"/>
                  </a:lnTo>
                  <a:lnTo>
                    <a:pt x="1195704" y="811531"/>
                  </a:lnTo>
                  <a:cubicBezTo>
                    <a:pt x="1195070" y="801371"/>
                    <a:pt x="1188720" y="794386"/>
                    <a:pt x="1179195" y="794386"/>
                  </a:cubicBezTo>
                  <a:close/>
                  <a:moveTo>
                    <a:pt x="909320" y="794386"/>
                  </a:moveTo>
                  <a:cubicBezTo>
                    <a:pt x="898525" y="794386"/>
                    <a:pt x="894079" y="803911"/>
                    <a:pt x="893445" y="811531"/>
                  </a:cubicBezTo>
                  <a:lnTo>
                    <a:pt x="894079" y="811531"/>
                  </a:lnTo>
                  <a:lnTo>
                    <a:pt x="925829" y="811531"/>
                  </a:lnTo>
                  <a:cubicBezTo>
                    <a:pt x="925195" y="801371"/>
                    <a:pt x="918845" y="794386"/>
                    <a:pt x="909320" y="794386"/>
                  </a:cubicBezTo>
                  <a:close/>
                  <a:moveTo>
                    <a:pt x="737870" y="775971"/>
                  </a:moveTo>
                  <a:lnTo>
                    <a:pt x="761364" y="775971"/>
                  </a:lnTo>
                  <a:lnTo>
                    <a:pt x="761364" y="866141"/>
                  </a:lnTo>
                  <a:lnTo>
                    <a:pt x="737870" y="866141"/>
                  </a:lnTo>
                  <a:close/>
                  <a:moveTo>
                    <a:pt x="143510" y="775971"/>
                  </a:moveTo>
                  <a:lnTo>
                    <a:pt x="167004" y="775971"/>
                  </a:lnTo>
                  <a:lnTo>
                    <a:pt x="167004" y="866141"/>
                  </a:lnTo>
                  <a:lnTo>
                    <a:pt x="143510" y="866141"/>
                  </a:lnTo>
                  <a:close/>
                  <a:moveTo>
                    <a:pt x="635" y="775971"/>
                  </a:moveTo>
                  <a:lnTo>
                    <a:pt x="26670" y="775971"/>
                  </a:lnTo>
                  <a:lnTo>
                    <a:pt x="40004" y="828041"/>
                  </a:lnTo>
                  <a:lnTo>
                    <a:pt x="55245" y="775971"/>
                  </a:lnTo>
                  <a:lnTo>
                    <a:pt x="76200" y="775971"/>
                  </a:lnTo>
                  <a:lnTo>
                    <a:pt x="91439" y="828041"/>
                  </a:lnTo>
                  <a:lnTo>
                    <a:pt x="105409" y="775971"/>
                  </a:lnTo>
                  <a:lnTo>
                    <a:pt x="130810" y="775971"/>
                  </a:lnTo>
                  <a:lnTo>
                    <a:pt x="102235" y="866141"/>
                  </a:lnTo>
                  <a:lnTo>
                    <a:pt x="80644" y="866141"/>
                  </a:lnTo>
                  <a:lnTo>
                    <a:pt x="65405" y="811531"/>
                  </a:lnTo>
                  <a:lnTo>
                    <a:pt x="50165" y="866141"/>
                  </a:lnTo>
                  <a:lnTo>
                    <a:pt x="28575" y="866141"/>
                  </a:lnTo>
                  <a:close/>
                  <a:moveTo>
                    <a:pt x="1181099" y="774066"/>
                  </a:moveTo>
                  <a:cubicBezTo>
                    <a:pt x="1204595" y="774066"/>
                    <a:pt x="1219200" y="795021"/>
                    <a:pt x="1219200" y="821056"/>
                  </a:cubicBezTo>
                  <a:lnTo>
                    <a:pt x="1218564" y="821056"/>
                  </a:lnTo>
                  <a:cubicBezTo>
                    <a:pt x="1218564" y="821056"/>
                    <a:pt x="1218564" y="827406"/>
                    <a:pt x="1218564" y="828676"/>
                  </a:cubicBezTo>
                  <a:lnTo>
                    <a:pt x="1163954" y="828676"/>
                  </a:lnTo>
                  <a:cubicBezTo>
                    <a:pt x="1165224" y="841376"/>
                    <a:pt x="1173480" y="846456"/>
                    <a:pt x="1183004" y="846456"/>
                  </a:cubicBezTo>
                  <a:cubicBezTo>
                    <a:pt x="1188720" y="846456"/>
                    <a:pt x="1193799" y="844551"/>
                    <a:pt x="1198879" y="840106"/>
                  </a:cubicBezTo>
                  <a:lnTo>
                    <a:pt x="1214754" y="853441"/>
                  </a:lnTo>
                  <a:cubicBezTo>
                    <a:pt x="1206500" y="864236"/>
                    <a:pt x="1193799" y="868046"/>
                    <a:pt x="1182370" y="868046"/>
                  </a:cubicBezTo>
                  <a:cubicBezTo>
                    <a:pt x="1156335" y="868046"/>
                    <a:pt x="1141095" y="847726"/>
                    <a:pt x="1141095" y="821056"/>
                  </a:cubicBezTo>
                  <a:cubicBezTo>
                    <a:pt x="1141095" y="792481"/>
                    <a:pt x="1158875" y="774066"/>
                    <a:pt x="1181099" y="774066"/>
                  </a:cubicBezTo>
                  <a:close/>
                  <a:moveTo>
                    <a:pt x="1097915" y="774066"/>
                  </a:moveTo>
                  <a:cubicBezTo>
                    <a:pt x="1113790" y="774066"/>
                    <a:pt x="1125220" y="781051"/>
                    <a:pt x="1133474" y="793751"/>
                  </a:cubicBezTo>
                  <a:lnTo>
                    <a:pt x="1118235" y="808991"/>
                  </a:lnTo>
                  <a:cubicBezTo>
                    <a:pt x="1113155" y="802006"/>
                    <a:pt x="1107439" y="796291"/>
                    <a:pt x="1097915" y="796291"/>
                  </a:cubicBezTo>
                  <a:cubicBezTo>
                    <a:pt x="1085215" y="796291"/>
                    <a:pt x="1078864" y="807086"/>
                    <a:pt x="1078864" y="820421"/>
                  </a:cubicBezTo>
                  <a:cubicBezTo>
                    <a:pt x="1078864" y="833121"/>
                    <a:pt x="1084579" y="845186"/>
                    <a:pt x="1097915" y="845186"/>
                  </a:cubicBezTo>
                  <a:cubicBezTo>
                    <a:pt x="1106170" y="845186"/>
                    <a:pt x="1113155" y="840741"/>
                    <a:pt x="1118235" y="833756"/>
                  </a:cubicBezTo>
                  <a:lnTo>
                    <a:pt x="1118870" y="834391"/>
                  </a:lnTo>
                  <a:lnTo>
                    <a:pt x="1133474" y="848361"/>
                  </a:lnTo>
                  <a:cubicBezTo>
                    <a:pt x="1125855" y="857886"/>
                    <a:pt x="1115060" y="868046"/>
                    <a:pt x="1097280" y="868046"/>
                  </a:cubicBezTo>
                  <a:cubicBezTo>
                    <a:pt x="1072515" y="868046"/>
                    <a:pt x="1054735" y="848361"/>
                    <a:pt x="1054735" y="821056"/>
                  </a:cubicBezTo>
                  <a:cubicBezTo>
                    <a:pt x="1054735" y="796291"/>
                    <a:pt x="1069974" y="774066"/>
                    <a:pt x="1097915" y="774066"/>
                  </a:cubicBezTo>
                  <a:close/>
                  <a:moveTo>
                    <a:pt x="1009015" y="774066"/>
                  </a:moveTo>
                  <a:cubicBezTo>
                    <a:pt x="1033144" y="774066"/>
                    <a:pt x="1041400" y="793116"/>
                    <a:pt x="1041400" y="815341"/>
                  </a:cubicBezTo>
                  <a:lnTo>
                    <a:pt x="1041400" y="866141"/>
                  </a:lnTo>
                  <a:lnTo>
                    <a:pt x="1017905" y="866141"/>
                  </a:lnTo>
                  <a:lnTo>
                    <a:pt x="1017905" y="817246"/>
                  </a:lnTo>
                  <a:cubicBezTo>
                    <a:pt x="1017905" y="804546"/>
                    <a:pt x="1014730" y="796291"/>
                    <a:pt x="1002665" y="796291"/>
                  </a:cubicBezTo>
                  <a:cubicBezTo>
                    <a:pt x="990599" y="796291"/>
                    <a:pt x="986790" y="803276"/>
                    <a:pt x="986790" y="816611"/>
                  </a:cubicBezTo>
                  <a:lnTo>
                    <a:pt x="986790" y="866141"/>
                  </a:lnTo>
                  <a:lnTo>
                    <a:pt x="963295" y="866141"/>
                  </a:lnTo>
                  <a:lnTo>
                    <a:pt x="963295" y="775971"/>
                  </a:lnTo>
                  <a:lnTo>
                    <a:pt x="986790" y="775971"/>
                  </a:lnTo>
                  <a:lnTo>
                    <a:pt x="986790" y="782321"/>
                  </a:lnTo>
                  <a:cubicBezTo>
                    <a:pt x="991870" y="777241"/>
                    <a:pt x="998855" y="774066"/>
                    <a:pt x="1009015" y="774066"/>
                  </a:cubicBezTo>
                  <a:close/>
                  <a:moveTo>
                    <a:pt x="911224" y="774066"/>
                  </a:moveTo>
                  <a:cubicBezTo>
                    <a:pt x="934720" y="774066"/>
                    <a:pt x="949325" y="795021"/>
                    <a:pt x="949325" y="821056"/>
                  </a:cubicBezTo>
                  <a:lnTo>
                    <a:pt x="948689" y="821056"/>
                  </a:lnTo>
                  <a:cubicBezTo>
                    <a:pt x="948689" y="821056"/>
                    <a:pt x="948689" y="827406"/>
                    <a:pt x="948689" y="828676"/>
                  </a:cubicBezTo>
                  <a:lnTo>
                    <a:pt x="894079" y="828676"/>
                  </a:lnTo>
                  <a:cubicBezTo>
                    <a:pt x="895349" y="841376"/>
                    <a:pt x="903605" y="846456"/>
                    <a:pt x="913129" y="846456"/>
                  </a:cubicBezTo>
                  <a:cubicBezTo>
                    <a:pt x="918845" y="846456"/>
                    <a:pt x="923924" y="844551"/>
                    <a:pt x="929004" y="840106"/>
                  </a:cubicBezTo>
                  <a:lnTo>
                    <a:pt x="944879" y="853441"/>
                  </a:lnTo>
                  <a:cubicBezTo>
                    <a:pt x="936625" y="864236"/>
                    <a:pt x="923924" y="868046"/>
                    <a:pt x="912495" y="868046"/>
                  </a:cubicBezTo>
                  <a:cubicBezTo>
                    <a:pt x="886459" y="868046"/>
                    <a:pt x="871220" y="847726"/>
                    <a:pt x="871220" y="821056"/>
                  </a:cubicBezTo>
                  <a:cubicBezTo>
                    <a:pt x="871220" y="792481"/>
                    <a:pt x="889000" y="774066"/>
                    <a:pt x="911224" y="774066"/>
                  </a:cubicBezTo>
                  <a:close/>
                  <a:moveTo>
                    <a:pt x="623570" y="774066"/>
                  </a:moveTo>
                  <a:cubicBezTo>
                    <a:pt x="647700" y="774066"/>
                    <a:pt x="655954" y="793116"/>
                    <a:pt x="655954" y="815341"/>
                  </a:cubicBezTo>
                  <a:lnTo>
                    <a:pt x="655954" y="866141"/>
                  </a:lnTo>
                  <a:lnTo>
                    <a:pt x="632459" y="866141"/>
                  </a:lnTo>
                  <a:lnTo>
                    <a:pt x="632459" y="817246"/>
                  </a:lnTo>
                  <a:cubicBezTo>
                    <a:pt x="632459" y="804546"/>
                    <a:pt x="629284" y="796291"/>
                    <a:pt x="617220" y="796291"/>
                  </a:cubicBezTo>
                  <a:cubicBezTo>
                    <a:pt x="605155" y="796291"/>
                    <a:pt x="601345" y="803276"/>
                    <a:pt x="601345" y="816611"/>
                  </a:cubicBezTo>
                  <a:lnTo>
                    <a:pt x="601345" y="866141"/>
                  </a:lnTo>
                  <a:lnTo>
                    <a:pt x="577849" y="866141"/>
                  </a:lnTo>
                  <a:lnTo>
                    <a:pt x="577849" y="775971"/>
                  </a:lnTo>
                  <a:lnTo>
                    <a:pt x="601345" y="775971"/>
                  </a:lnTo>
                  <a:lnTo>
                    <a:pt x="601345" y="782321"/>
                  </a:lnTo>
                  <a:cubicBezTo>
                    <a:pt x="606424" y="777241"/>
                    <a:pt x="613409" y="774066"/>
                    <a:pt x="623570" y="774066"/>
                  </a:cubicBezTo>
                  <a:close/>
                  <a:moveTo>
                    <a:pt x="522605" y="774066"/>
                  </a:moveTo>
                  <a:cubicBezTo>
                    <a:pt x="548004" y="774066"/>
                    <a:pt x="564515" y="793116"/>
                    <a:pt x="564515" y="821056"/>
                  </a:cubicBezTo>
                  <a:cubicBezTo>
                    <a:pt x="564515" y="848996"/>
                    <a:pt x="546735" y="868046"/>
                    <a:pt x="522605" y="868046"/>
                  </a:cubicBezTo>
                  <a:cubicBezTo>
                    <a:pt x="498474" y="868046"/>
                    <a:pt x="480695" y="848996"/>
                    <a:pt x="480695" y="821056"/>
                  </a:cubicBezTo>
                  <a:cubicBezTo>
                    <a:pt x="480695" y="794386"/>
                    <a:pt x="496570" y="774066"/>
                    <a:pt x="522605" y="774066"/>
                  </a:cubicBezTo>
                  <a:close/>
                  <a:moveTo>
                    <a:pt x="436879" y="774066"/>
                  </a:moveTo>
                  <a:cubicBezTo>
                    <a:pt x="452754" y="774066"/>
                    <a:pt x="464185" y="781051"/>
                    <a:pt x="472439" y="793751"/>
                  </a:cubicBezTo>
                  <a:lnTo>
                    <a:pt x="457200" y="808991"/>
                  </a:lnTo>
                  <a:cubicBezTo>
                    <a:pt x="452120" y="802006"/>
                    <a:pt x="446405" y="796291"/>
                    <a:pt x="436879" y="796291"/>
                  </a:cubicBezTo>
                  <a:cubicBezTo>
                    <a:pt x="424180" y="796291"/>
                    <a:pt x="417829" y="807086"/>
                    <a:pt x="417829" y="820421"/>
                  </a:cubicBezTo>
                  <a:cubicBezTo>
                    <a:pt x="417829" y="833121"/>
                    <a:pt x="423545" y="845186"/>
                    <a:pt x="436879" y="845186"/>
                  </a:cubicBezTo>
                  <a:cubicBezTo>
                    <a:pt x="445135" y="845186"/>
                    <a:pt x="452120" y="840741"/>
                    <a:pt x="457200" y="833756"/>
                  </a:cubicBezTo>
                  <a:lnTo>
                    <a:pt x="457834" y="834391"/>
                  </a:lnTo>
                  <a:lnTo>
                    <a:pt x="472439" y="848361"/>
                  </a:lnTo>
                  <a:cubicBezTo>
                    <a:pt x="464820" y="857886"/>
                    <a:pt x="454025" y="868046"/>
                    <a:pt x="436245" y="868046"/>
                  </a:cubicBezTo>
                  <a:cubicBezTo>
                    <a:pt x="411480" y="868046"/>
                    <a:pt x="393700" y="848361"/>
                    <a:pt x="393700" y="821056"/>
                  </a:cubicBezTo>
                  <a:cubicBezTo>
                    <a:pt x="393700" y="796291"/>
                    <a:pt x="408939" y="774066"/>
                    <a:pt x="436879" y="774066"/>
                  </a:cubicBezTo>
                  <a:close/>
                  <a:moveTo>
                    <a:pt x="219075" y="742316"/>
                  </a:moveTo>
                  <a:lnTo>
                    <a:pt x="219075" y="777241"/>
                  </a:lnTo>
                  <a:lnTo>
                    <a:pt x="245110" y="777241"/>
                  </a:lnTo>
                  <a:lnTo>
                    <a:pt x="245110" y="798831"/>
                  </a:lnTo>
                  <a:lnTo>
                    <a:pt x="219075" y="798831"/>
                  </a:lnTo>
                  <a:lnTo>
                    <a:pt x="219075" y="835661"/>
                  </a:lnTo>
                  <a:cubicBezTo>
                    <a:pt x="219075" y="843916"/>
                    <a:pt x="222250" y="846456"/>
                    <a:pt x="227965" y="846456"/>
                  </a:cubicBezTo>
                  <a:lnTo>
                    <a:pt x="245041" y="839979"/>
                  </a:lnTo>
                  <a:lnTo>
                    <a:pt x="241935" y="862966"/>
                  </a:lnTo>
                  <a:cubicBezTo>
                    <a:pt x="236855" y="866776"/>
                    <a:pt x="225424" y="868681"/>
                    <a:pt x="219709" y="868681"/>
                  </a:cubicBezTo>
                  <a:cubicBezTo>
                    <a:pt x="205739" y="868681"/>
                    <a:pt x="195579" y="857251"/>
                    <a:pt x="195579" y="842011"/>
                  </a:cubicBezTo>
                  <a:lnTo>
                    <a:pt x="195579" y="798831"/>
                  </a:lnTo>
                  <a:lnTo>
                    <a:pt x="179704" y="798831"/>
                  </a:lnTo>
                  <a:lnTo>
                    <a:pt x="179704" y="777241"/>
                  </a:lnTo>
                  <a:lnTo>
                    <a:pt x="195579" y="777241"/>
                  </a:lnTo>
                  <a:lnTo>
                    <a:pt x="195579" y="753746"/>
                  </a:lnTo>
                  <a:close/>
                  <a:moveTo>
                    <a:pt x="749935" y="741681"/>
                  </a:moveTo>
                  <a:cubicBezTo>
                    <a:pt x="757555" y="741681"/>
                    <a:pt x="763269" y="747396"/>
                    <a:pt x="763269" y="755016"/>
                  </a:cubicBezTo>
                  <a:cubicBezTo>
                    <a:pt x="763269" y="762636"/>
                    <a:pt x="757555" y="768351"/>
                    <a:pt x="749935" y="768351"/>
                  </a:cubicBezTo>
                  <a:cubicBezTo>
                    <a:pt x="742314" y="768351"/>
                    <a:pt x="736599" y="762636"/>
                    <a:pt x="736599" y="755016"/>
                  </a:cubicBezTo>
                  <a:cubicBezTo>
                    <a:pt x="736599" y="747396"/>
                    <a:pt x="742314" y="741681"/>
                    <a:pt x="749935" y="741681"/>
                  </a:cubicBezTo>
                  <a:close/>
                  <a:moveTo>
                    <a:pt x="154939" y="741681"/>
                  </a:moveTo>
                  <a:cubicBezTo>
                    <a:pt x="162560" y="741681"/>
                    <a:pt x="168275" y="747396"/>
                    <a:pt x="168275" y="755016"/>
                  </a:cubicBezTo>
                  <a:cubicBezTo>
                    <a:pt x="168275" y="762636"/>
                    <a:pt x="162560" y="768351"/>
                    <a:pt x="154939" y="768351"/>
                  </a:cubicBezTo>
                  <a:cubicBezTo>
                    <a:pt x="147320" y="768351"/>
                    <a:pt x="141605" y="762636"/>
                    <a:pt x="141605" y="755016"/>
                  </a:cubicBezTo>
                  <a:cubicBezTo>
                    <a:pt x="141605" y="747396"/>
                    <a:pt x="147320" y="741681"/>
                    <a:pt x="154939" y="741681"/>
                  </a:cubicBezTo>
                  <a:close/>
                  <a:moveTo>
                    <a:pt x="856614" y="741046"/>
                  </a:moveTo>
                  <a:lnTo>
                    <a:pt x="856614" y="866141"/>
                  </a:lnTo>
                  <a:lnTo>
                    <a:pt x="833120" y="866141"/>
                  </a:lnTo>
                  <a:lnTo>
                    <a:pt x="833120" y="860426"/>
                  </a:lnTo>
                  <a:cubicBezTo>
                    <a:pt x="825500" y="866141"/>
                    <a:pt x="821055" y="868046"/>
                    <a:pt x="812799" y="868046"/>
                  </a:cubicBezTo>
                  <a:cubicBezTo>
                    <a:pt x="786765" y="868046"/>
                    <a:pt x="775970" y="845821"/>
                    <a:pt x="775970" y="820421"/>
                  </a:cubicBezTo>
                  <a:cubicBezTo>
                    <a:pt x="775970" y="793116"/>
                    <a:pt x="788670" y="774066"/>
                    <a:pt x="812165" y="774066"/>
                  </a:cubicBezTo>
                  <a:cubicBezTo>
                    <a:pt x="819784" y="774066"/>
                    <a:pt x="827405" y="775971"/>
                    <a:pt x="833120" y="781051"/>
                  </a:cubicBezTo>
                  <a:lnTo>
                    <a:pt x="833120" y="752476"/>
                  </a:lnTo>
                  <a:close/>
                  <a:moveTo>
                    <a:pt x="707390" y="741046"/>
                  </a:moveTo>
                  <a:cubicBezTo>
                    <a:pt x="712470" y="741046"/>
                    <a:pt x="719454" y="741046"/>
                    <a:pt x="724534" y="743586"/>
                  </a:cubicBezTo>
                  <a:lnTo>
                    <a:pt x="724534" y="744221"/>
                  </a:lnTo>
                  <a:lnTo>
                    <a:pt x="724534" y="762636"/>
                  </a:lnTo>
                  <a:cubicBezTo>
                    <a:pt x="721360" y="761366"/>
                    <a:pt x="716280" y="760731"/>
                    <a:pt x="713105" y="760731"/>
                  </a:cubicBezTo>
                  <a:cubicBezTo>
                    <a:pt x="706120" y="760731"/>
                    <a:pt x="703579" y="762636"/>
                    <a:pt x="703579" y="768351"/>
                  </a:cubicBezTo>
                  <a:lnTo>
                    <a:pt x="703579" y="775336"/>
                  </a:lnTo>
                  <a:lnTo>
                    <a:pt x="722629" y="775336"/>
                  </a:lnTo>
                  <a:lnTo>
                    <a:pt x="722629" y="796926"/>
                  </a:lnTo>
                  <a:lnTo>
                    <a:pt x="703579" y="796926"/>
                  </a:lnTo>
                  <a:lnTo>
                    <a:pt x="703579" y="865506"/>
                  </a:lnTo>
                  <a:lnTo>
                    <a:pt x="680084" y="865506"/>
                  </a:lnTo>
                  <a:lnTo>
                    <a:pt x="680084" y="796926"/>
                  </a:lnTo>
                  <a:lnTo>
                    <a:pt x="667385" y="796926"/>
                  </a:lnTo>
                  <a:lnTo>
                    <a:pt x="667385" y="775336"/>
                  </a:lnTo>
                  <a:lnTo>
                    <a:pt x="680084" y="775336"/>
                  </a:lnTo>
                  <a:lnTo>
                    <a:pt x="680084" y="764541"/>
                  </a:lnTo>
                  <a:cubicBezTo>
                    <a:pt x="680084" y="748031"/>
                    <a:pt x="690879" y="741046"/>
                    <a:pt x="707390" y="741046"/>
                  </a:cubicBezTo>
                  <a:close/>
                  <a:moveTo>
                    <a:pt x="282575" y="741046"/>
                  </a:moveTo>
                  <a:lnTo>
                    <a:pt x="282575" y="782321"/>
                  </a:lnTo>
                  <a:cubicBezTo>
                    <a:pt x="287019" y="777241"/>
                    <a:pt x="295909" y="774066"/>
                    <a:pt x="304799" y="774066"/>
                  </a:cubicBezTo>
                  <a:cubicBezTo>
                    <a:pt x="328295" y="774066"/>
                    <a:pt x="336549" y="792481"/>
                    <a:pt x="336549" y="815341"/>
                  </a:cubicBezTo>
                  <a:lnTo>
                    <a:pt x="336549" y="866141"/>
                  </a:lnTo>
                  <a:lnTo>
                    <a:pt x="313689" y="866141"/>
                  </a:lnTo>
                  <a:lnTo>
                    <a:pt x="313689" y="817246"/>
                  </a:lnTo>
                  <a:cubicBezTo>
                    <a:pt x="313689" y="804546"/>
                    <a:pt x="310515" y="796291"/>
                    <a:pt x="298450" y="796291"/>
                  </a:cubicBezTo>
                  <a:cubicBezTo>
                    <a:pt x="286385" y="796291"/>
                    <a:pt x="282575" y="803276"/>
                    <a:pt x="282575" y="816611"/>
                  </a:cubicBezTo>
                  <a:lnTo>
                    <a:pt x="282575" y="866141"/>
                  </a:lnTo>
                  <a:lnTo>
                    <a:pt x="259079" y="866141"/>
                  </a:lnTo>
                  <a:lnTo>
                    <a:pt x="259079" y="752476"/>
                  </a:lnTo>
                  <a:close/>
                  <a:moveTo>
                    <a:pt x="92709" y="648336"/>
                  </a:moveTo>
                  <a:lnTo>
                    <a:pt x="92709" y="649606"/>
                  </a:lnTo>
                  <a:lnTo>
                    <a:pt x="92427" y="648959"/>
                  </a:lnTo>
                  <a:close/>
                  <a:moveTo>
                    <a:pt x="230504" y="643256"/>
                  </a:moveTo>
                  <a:cubicBezTo>
                    <a:pt x="220345" y="643256"/>
                    <a:pt x="215900" y="647701"/>
                    <a:pt x="215900" y="654686"/>
                  </a:cubicBezTo>
                  <a:cubicBezTo>
                    <a:pt x="215900" y="661671"/>
                    <a:pt x="220345" y="667386"/>
                    <a:pt x="228599" y="667386"/>
                  </a:cubicBezTo>
                  <a:cubicBezTo>
                    <a:pt x="233045" y="667386"/>
                    <a:pt x="240665" y="666116"/>
                    <a:pt x="245745" y="658496"/>
                  </a:cubicBezTo>
                  <a:lnTo>
                    <a:pt x="245745" y="647066"/>
                  </a:lnTo>
                  <a:cubicBezTo>
                    <a:pt x="241299" y="643891"/>
                    <a:pt x="234950" y="643256"/>
                    <a:pt x="230504" y="643256"/>
                  </a:cubicBezTo>
                  <a:close/>
                  <a:moveTo>
                    <a:pt x="321310" y="614046"/>
                  </a:moveTo>
                  <a:cubicBezTo>
                    <a:pt x="314959" y="614046"/>
                    <a:pt x="309879" y="617221"/>
                    <a:pt x="306704" y="622301"/>
                  </a:cubicBezTo>
                  <a:lnTo>
                    <a:pt x="306704" y="656591"/>
                  </a:lnTo>
                  <a:cubicBezTo>
                    <a:pt x="310515" y="661671"/>
                    <a:pt x="316230" y="664846"/>
                    <a:pt x="323215" y="664846"/>
                  </a:cubicBezTo>
                  <a:cubicBezTo>
                    <a:pt x="335915" y="664846"/>
                    <a:pt x="339090" y="653416"/>
                    <a:pt x="339090" y="640716"/>
                  </a:cubicBezTo>
                  <a:lnTo>
                    <a:pt x="338454" y="640716"/>
                  </a:lnTo>
                  <a:cubicBezTo>
                    <a:pt x="338454" y="627381"/>
                    <a:pt x="335280" y="614046"/>
                    <a:pt x="321310" y="614046"/>
                  </a:cubicBezTo>
                  <a:close/>
                  <a:moveTo>
                    <a:pt x="1179195" y="612776"/>
                  </a:moveTo>
                  <a:cubicBezTo>
                    <a:pt x="1168400" y="612776"/>
                    <a:pt x="1163954" y="622301"/>
                    <a:pt x="1163320" y="629921"/>
                  </a:cubicBezTo>
                  <a:lnTo>
                    <a:pt x="1163954" y="629921"/>
                  </a:lnTo>
                  <a:lnTo>
                    <a:pt x="1195704" y="629921"/>
                  </a:lnTo>
                  <a:cubicBezTo>
                    <a:pt x="1195070" y="619761"/>
                    <a:pt x="1188720" y="612776"/>
                    <a:pt x="1179195" y="612776"/>
                  </a:cubicBezTo>
                  <a:close/>
                  <a:moveTo>
                    <a:pt x="689610" y="612776"/>
                  </a:moveTo>
                  <a:cubicBezTo>
                    <a:pt x="678814" y="612776"/>
                    <a:pt x="674370" y="622301"/>
                    <a:pt x="673735" y="629921"/>
                  </a:cubicBezTo>
                  <a:lnTo>
                    <a:pt x="674370" y="629921"/>
                  </a:lnTo>
                  <a:lnTo>
                    <a:pt x="706120" y="629921"/>
                  </a:lnTo>
                  <a:cubicBezTo>
                    <a:pt x="705485" y="619761"/>
                    <a:pt x="699135" y="612776"/>
                    <a:pt x="689610" y="612776"/>
                  </a:cubicBezTo>
                  <a:close/>
                  <a:moveTo>
                    <a:pt x="410845" y="612776"/>
                  </a:moveTo>
                  <a:cubicBezTo>
                    <a:pt x="400685" y="612776"/>
                    <a:pt x="396239" y="622301"/>
                    <a:pt x="395605" y="629921"/>
                  </a:cubicBezTo>
                  <a:lnTo>
                    <a:pt x="427355" y="629921"/>
                  </a:lnTo>
                  <a:cubicBezTo>
                    <a:pt x="426084" y="619761"/>
                    <a:pt x="420370" y="612776"/>
                    <a:pt x="410845" y="612776"/>
                  </a:cubicBezTo>
                  <a:close/>
                  <a:moveTo>
                    <a:pt x="991870" y="594361"/>
                  </a:moveTo>
                  <a:lnTo>
                    <a:pt x="1014095" y="594361"/>
                  </a:lnTo>
                  <a:lnTo>
                    <a:pt x="1014095" y="643256"/>
                  </a:lnTo>
                  <a:cubicBezTo>
                    <a:pt x="1014095" y="655321"/>
                    <a:pt x="1016635" y="664846"/>
                    <a:pt x="1029334" y="664846"/>
                  </a:cubicBezTo>
                  <a:cubicBezTo>
                    <a:pt x="1042034" y="664846"/>
                    <a:pt x="1044575" y="655321"/>
                    <a:pt x="1044575" y="644526"/>
                  </a:cubicBezTo>
                  <a:lnTo>
                    <a:pt x="1044575" y="594996"/>
                  </a:lnTo>
                  <a:lnTo>
                    <a:pt x="1066799" y="594996"/>
                  </a:lnTo>
                  <a:lnTo>
                    <a:pt x="1066799" y="684531"/>
                  </a:lnTo>
                  <a:lnTo>
                    <a:pt x="1044575" y="684531"/>
                  </a:lnTo>
                  <a:lnTo>
                    <a:pt x="1044575" y="678181"/>
                  </a:lnTo>
                  <a:cubicBezTo>
                    <a:pt x="1039495" y="683896"/>
                    <a:pt x="1031875" y="686436"/>
                    <a:pt x="1023620" y="686436"/>
                  </a:cubicBezTo>
                  <a:cubicBezTo>
                    <a:pt x="1000125" y="686436"/>
                    <a:pt x="991870" y="669926"/>
                    <a:pt x="991870" y="645161"/>
                  </a:cubicBezTo>
                  <a:close/>
                  <a:moveTo>
                    <a:pt x="836295" y="594361"/>
                  </a:moveTo>
                  <a:lnTo>
                    <a:pt x="858519" y="594361"/>
                  </a:lnTo>
                  <a:lnTo>
                    <a:pt x="858519" y="643256"/>
                  </a:lnTo>
                  <a:cubicBezTo>
                    <a:pt x="858519" y="655321"/>
                    <a:pt x="861060" y="664846"/>
                    <a:pt x="873760" y="664846"/>
                  </a:cubicBezTo>
                  <a:cubicBezTo>
                    <a:pt x="886459" y="664846"/>
                    <a:pt x="889000" y="655321"/>
                    <a:pt x="889000" y="644526"/>
                  </a:cubicBezTo>
                  <a:lnTo>
                    <a:pt x="889000" y="594996"/>
                  </a:lnTo>
                  <a:lnTo>
                    <a:pt x="911224" y="594996"/>
                  </a:lnTo>
                  <a:lnTo>
                    <a:pt x="911224" y="684531"/>
                  </a:lnTo>
                  <a:lnTo>
                    <a:pt x="889000" y="684531"/>
                  </a:lnTo>
                  <a:lnTo>
                    <a:pt x="889000" y="678181"/>
                  </a:lnTo>
                  <a:cubicBezTo>
                    <a:pt x="883920" y="683896"/>
                    <a:pt x="876299" y="686436"/>
                    <a:pt x="868045" y="686436"/>
                  </a:cubicBezTo>
                  <a:cubicBezTo>
                    <a:pt x="844549" y="686436"/>
                    <a:pt x="836295" y="669926"/>
                    <a:pt x="836295" y="645161"/>
                  </a:cubicBezTo>
                  <a:close/>
                  <a:moveTo>
                    <a:pt x="1181099" y="592456"/>
                  </a:moveTo>
                  <a:cubicBezTo>
                    <a:pt x="1204595" y="592456"/>
                    <a:pt x="1219200" y="613411"/>
                    <a:pt x="1219200" y="639446"/>
                  </a:cubicBezTo>
                  <a:lnTo>
                    <a:pt x="1218564" y="639446"/>
                  </a:lnTo>
                  <a:cubicBezTo>
                    <a:pt x="1218564" y="639446"/>
                    <a:pt x="1218564" y="645796"/>
                    <a:pt x="1218564" y="647066"/>
                  </a:cubicBezTo>
                  <a:lnTo>
                    <a:pt x="1163954" y="647066"/>
                  </a:lnTo>
                  <a:cubicBezTo>
                    <a:pt x="1165224" y="659766"/>
                    <a:pt x="1173480" y="664846"/>
                    <a:pt x="1183004" y="664846"/>
                  </a:cubicBezTo>
                  <a:cubicBezTo>
                    <a:pt x="1188720" y="664846"/>
                    <a:pt x="1193799" y="662941"/>
                    <a:pt x="1198879" y="658496"/>
                  </a:cubicBezTo>
                  <a:lnTo>
                    <a:pt x="1214754" y="671831"/>
                  </a:lnTo>
                  <a:cubicBezTo>
                    <a:pt x="1206500" y="682626"/>
                    <a:pt x="1193799" y="686436"/>
                    <a:pt x="1182370" y="686436"/>
                  </a:cubicBezTo>
                  <a:cubicBezTo>
                    <a:pt x="1156335" y="686436"/>
                    <a:pt x="1141095" y="666116"/>
                    <a:pt x="1141095" y="639446"/>
                  </a:cubicBezTo>
                  <a:cubicBezTo>
                    <a:pt x="1141095" y="610871"/>
                    <a:pt x="1158875" y="592456"/>
                    <a:pt x="1181099" y="592456"/>
                  </a:cubicBezTo>
                  <a:close/>
                  <a:moveTo>
                    <a:pt x="691515" y="592456"/>
                  </a:moveTo>
                  <a:cubicBezTo>
                    <a:pt x="715010" y="592456"/>
                    <a:pt x="729614" y="613411"/>
                    <a:pt x="729614" y="639446"/>
                  </a:cubicBezTo>
                  <a:lnTo>
                    <a:pt x="728980" y="639446"/>
                  </a:lnTo>
                  <a:cubicBezTo>
                    <a:pt x="728980" y="639446"/>
                    <a:pt x="728980" y="645796"/>
                    <a:pt x="728980" y="647066"/>
                  </a:cubicBezTo>
                  <a:lnTo>
                    <a:pt x="674370" y="647066"/>
                  </a:lnTo>
                  <a:cubicBezTo>
                    <a:pt x="675640" y="659766"/>
                    <a:pt x="683894" y="664846"/>
                    <a:pt x="693420" y="664846"/>
                  </a:cubicBezTo>
                  <a:cubicBezTo>
                    <a:pt x="699135" y="664846"/>
                    <a:pt x="704215" y="662941"/>
                    <a:pt x="709295" y="658496"/>
                  </a:cubicBezTo>
                  <a:lnTo>
                    <a:pt x="725170" y="671831"/>
                  </a:lnTo>
                  <a:cubicBezTo>
                    <a:pt x="716915" y="682626"/>
                    <a:pt x="704215" y="686436"/>
                    <a:pt x="692784" y="686436"/>
                  </a:cubicBezTo>
                  <a:cubicBezTo>
                    <a:pt x="666750" y="686436"/>
                    <a:pt x="651510" y="666116"/>
                    <a:pt x="651510" y="639446"/>
                  </a:cubicBezTo>
                  <a:cubicBezTo>
                    <a:pt x="651510" y="610871"/>
                    <a:pt x="669290" y="592456"/>
                    <a:pt x="691515" y="592456"/>
                  </a:cubicBezTo>
                  <a:close/>
                  <a:moveTo>
                    <a:pt x="412114" y="592456"/>
                  </a:moveTo>
                  <a:cubicBezTo>
                    <a:pt x="437515" y="592456"/>
                    <a:pt x="448310" y="615316"/>
                    <a:pt x="448310" y="639446"/>
                  </a:cubicBezTo>
                  <a:cubicBezTo>
                    <a:pt x="448310" y="639446"/>
                    <a:pt x="448310" y="645796"/>
                    <a:pt x="448310" y="647066"/>
                  </a:cubicBezTo>
                  <a:lnTo>
                    <a:pt x="395605" y="647066"/>
                  </a:lnTo>
                  <a:cubicBezTo>
                    <a:pt x="396875" y="659766"/>
                    <a:pt x="405129" y="664846"/>
                    <a:pt x="415290" y="664846"/>
                  </a:cubicBezTo>
                  <a:cubicBezTo>
                    <a:pt x="421004" y="664846"/>
                    <a:pt x="426084" y="662941"/>
                    <a:pt x="430530" y="658496"/>
                  </a:cubicBezTo>
                  <a:lnTo>
                    <a:pt x="446405" y="671831"/>
                  </a:lnTo>
                  <a:cubicBezTo>
                    <a:pt x="438784" y="681991"/>
                    <a:pt x="425450" y="686436"/>
                    <a:pt x="413385" y="686436"/>
                  </a:cubicBezTo>
                  <a:cubicBezTo>
                    <a:pt x="387349" y="686436"/>
                    <a:pt x="372110" y="666116"/>
                    <a:pt x="372110" y="640081"/>
                  </a:cubicBezTo>
                  <a:cubicBezTo>
                    <a:pt x="372110" y="614046"/>
                    <a:pt x="388620" y="592456"/>
                    <a:pt x="412114" y="592456"/>
                  </a:cubicBezTo>
                  <a:close/>
                  <a:moveTo>
                    <a:pt x="326390" y="592456"/>
                  </a:moveTo>
                  <a:cubicBezTo>
                    <a:pt x="350519" y="592456"/>
                    <a:pt x="361314" y="615316"/>
                    <a:pt x="361314" y="639446"/>
                  </a:cubicBezTo>
                  <a:cubicBezTo>
                    <a:pt x="361314" y="662306"/>
                    <a:pt x="351790" y="686436"/>
                    <a:pt x="326390" y="686436"/>
                  </a:cubicBezTo>
                  <a:cubicBezTo>
                    <a:pt x="316230" y="686436"/>
                    <a:pt x="310515" y="682626"/>
                    <a:pt x="306070" y="678816"/>
                  </a:cubicBezTo>
                  <a:lnTo>
                    <a:pt x="306070" y="706121"/>
                  </a:lnTo>
                  <a:lnTo>
                    <a:pt x="283845" y="717551"/>
                  </a:lnTo>
                  <a:lnTo>
                    <a:pt x="283845" y="594361"/>
                  </a:lnTo>
                  <a:lnTo>
                    <a:pt x="306070" y="594361"/>
                  </a:lnTo>
                  <a:lnTo>
                    <a:pt x="306070" y="600711"/>
                  </a:lnTo>
                  <a:cubicBezTo>
                    <a:pt x="311784" y="595631"/>
                    <a:pt x="318135" y="592456"/>
                    <a:pt x="326390" y="592456"/>
                  </a:cubicBezTo>
                  <a:close/>
                  <a:moveTo>
                    <a:pt x="231775" y="592456"/>
                  </a:moveTo>
                  <a:cubicBezTo>
                    <a:pt x="254635" y="592456"/>
                    <a:pt x="268605" y="603251"/>
                    <a:pt x="268605" y="624206"/>
                  </a:cubicBezTo>
                  <a:lnTo>
                    <a:pt x="268605" y="684531"/>
                  </a:lnTo>
                  <a:lnTo>
                    <a:pt x="267970" y="684531"/>
                  </a:lnTo>
                  <a:lnTo>
                    <a:pt x="245745" y="684531"/>
                  </a:lnTo>
                  <a:lnTo>
                    <a:pt x="245745" y="678181"/>
                  </a:lnTo>
                  <a:cubicBezTo>
                    <a:pt x="240665" y="683261"/>
                    <a:pt x="233680" y="686436"/>
                    <a:pt x="224790" y="686436"/>
                  </a:cubicBezTo>
                  <a:cubicBezTo>
                    <a:pt x="207010" y="686436"/>
                    <a:pt x="193040" y="675006"/>
                    <a:pt x="193040" y="655321"/>
                  </a:cubicBezTo>
                  <a:cubicBezTo>
                    <a:pt x="193040" y="635636"/>
                    <a:pt x="206375" y="624841"/>
                    <a:pt x="227965" y="624841"/>
                  </a:cubicBezTo>
                  <a:cubicBezTo>
                    <a:pt x="233680" y="624841"/>
                    <a:pt x="239394" y="625476"/>
                    <a:pt x="245745" y="628651"/>
                  </a:cubicBezTo>
                  <a:lnTo>
                    <a:pt x="245745" y="623571"/>
                  </a:lnTo>
                  <a:cubicBezTo>
                    <a:pt x="245745" y="615316"/>
                    <a:pt x="240030" y="611506"/>
                    <a:pt x="230504" y="611506"/>
                  </a:cubicBezTo>
                  <a:cubicBezTo>
                    <a:pt x="223519" y="611506"/>
                    <a:pt x="216534" y="613411"/>
                    <a:pt x="209549" y="617221"/>
                  </a:cubicBezTo>
                  <a:lnTo>
                    <a:pt x="200659" y="601346"/>
                  </a:lnTo>
                  <a:cubicBezTo>
                    <a:pt x="210185" y="594996"/>
                    <a:pt x="219709" y="592456"/>
                    <a:pt x="231775" y="592456"/>
                  </a:cubicBezTo>
                  <a:close/>
                  <a:moveTo>
                    <a:pt x="1125855" y="591821"/>
                  </a:moveTo>
                  <a:cubicBezTo>
                    <a:pt x="1132204" y="591821"/>
                    <a:pt x="1137920" y="593726"/>
                    <a:pt x="1142364" y="598171"/>
                  </a:cubicBezTo>
                  <a:lnTo>
                    <a:pt x="1141730" y="598806"/>
                  </a:lnTo>
                  <a:lnTo>
                    <a:pt x="1132840" y="621031"/>
                  </a:lnTo>
                  <a:cubicBezTo>
                    <a:pt x="1129665" y="617856"/>
                    <a:pt x="1125220" y="615316"/>
                    <a:pt x="1120140" y="615316"/>
                  </a:cubicBezTo>
                  <a:cubicBezTo>
                    <a:pt x="1109345" y="615316"/>
                    <a:pt x="1106805" y="624206"/>
                    <a:pt x="1106805" y="635001"/>
                  </a:cubicBezTo>
                  <a:lnTo>
                    <a:pt x="1106805" y="683896"/>
                  </a:lnTo>
                  <a:lnTo>
                    <a:pt x="1084579" y="683896"/>
                  </a:lnTo>
                  <a:lnTo>
                    <a:pt x="1084579" y="593726"/>
                  </a:lnTo>
                  <a:lnTo>
                    <a:pt x="1106805" y="593726"/>
                  </a:lnTo>
                  <a:lnTo>
                    <a:pt x="1106805" y="600076"/>
                  </a:lnTo>
                  <a:cubicBezTo>
                    <a:pt x="1111885" y="594996"/>
                    <a:pt x="1118235" y="591821"/>
                    <a:pt x="1125855" y="591821"/>
                  </a:cubicBezTo>
                  <a:close/>
                  <a:moveTo>
                    <a:pt x="47625" y="563881"/>
                  </a:moveTo>
                  <a:cubicBezTo>
                    <a:pt x="66040" y="563881"/>
                    <a:pt x="79375" y="571501"/>
                    <a:pt x="90170" y="582296"/>
                  </a:cubicBezTo>
                  <a:lnTo>
                    <a:pt x="73659" y="598806"/>
                  </a:lnTo>
                  <a:cubicBezTo>
                    <a:pt x="66040" y="591186"/>
                    <a:pt x="58420" y="586741"/>
                    <a:pt x="46355" y="586741"/>
                  </a:cubicBezTo>
                  <a:cubicBezTo>
                    <a:pt x="36194" y="586741"/>
                    <a:pt x="28575" y="589916"/>
                    <a:pt x="28575" y="598171"/>
                  </a:cubicBezTo>
                  <a:cubicBezTo>
                    <a:pt x="28575" y="601981"/>
                    <a:pt x="29845" y="604521"/>
                    <a:pt x="33655" y="606426"/>
                  </a:cubicBezTo>
                  <a:cubicBezTo>
                    <a:pt x="38099" y="608966"/>
                    <a:pt x="43814" y="610236"/>
                    <a:pt x="52704" y="612776"/>
                  </a:cubicBezTo>
                  <a:cubicBezTo>
                    <a:pt x="63500" y="615951"/>
                    <a:pt x="73659" y="617856"/>
                    <a:pt x="81915" y="624841"/>
                  </a:cubicBezTo>
                  <a:lnTo>
                    <a:pt x="92427" y="648959"/>
                  </a:lnTo>
                  <a:lnTo>
                    <a:pt x="79454" y="677626"/>
                  </a:lnTo>
                  <a:cubicBezTo>
                    <a:pt x="71279" y="683738"/>
                    <a:pt x="60008" y="686436"/>
                    <a:pt x="47625" y="686436"/>
                  </a:cubicBezTo>
                  <a:cubicBezTo>
                    <a:pt x="29845" y="686436"/>
                    <a:pt x="10795" y="680721"/>
                    <a:pt x="0" y="664846"/>
                  </a:cubicBezTo>
                  <a:lnTo>
                    <a:pt x="16510" y="650241"/>
                  </a:lnTo>
                  <a:cubicBezTo>
                    <a:pt x="24129" y="659766"/>
                    <a:pt x="35560" y="664211"/>
                    <a:pt x="46989" y="664211"/>
                  </a:cubicBezTo>
                  <a:cubicBezTo>
                    <a:pt x="60325" y="664211"/>
                    <a:pt x="68579" y="657861"/>
                    <a:pt x="68579" y="649606"/>
                  </a:cubicBezTo>
                  <a:cubicBezTo>
                    <a:pt x="68579" y="646431"/>
                    <a:pt x="67310" y="642621"/>
                    <a:pt x="61595" y="640081"/>
                  </a:cubicBezTo>
                  <a:cubicBezTo>
                    <a:pt x="57150" y="638176"/>
                    <a:pt x="52069" y="636906"/>
                    <a:pt x="41909" y="634366"/>
                  </a:cubicBezTo>
                  <a:cubicBezTo>
                    <a:pt x="35560" y="633096"/>
                    <a:pt x="22860" y="629921"/>
                    <a:pt x="14605" y="623571"/>
                  </a:cubicBezTo>
                  <a:cubicBezTo>
                    <a:pt x="6349" y="617221"/>
                    <a:pt x="4444" y="607696"/>
                    <a:pt x="4444" y="599441"/>
                  </a:cubicBezTo>
                  <a:cubicBezTo>
                    <a:pt x="4444" y="574041"/>
                    <a:pt x="26034" y="563881"/>
                    <a:pt x="47625" y="563881"/>
                  </a:cubicBezTo>
                  <a:close/>
                  <a:moveTo>
                    <a:pt x="814070" y="560071"/>
                  </a:moveTo>
                  <a:cubicBezTo>
                    <a:pt x="820420" y="560071"/>
                    <a:pt x="824864" y="561341"/>
                    <a:pt x="830579" y="562611"/>
                  </a:cubicBezTo>
                  <a:lnTo>
                    <a:pt x="829945" y="562611"/>
                  </a:lnTo>
                  <a:lnTo>
                    <a:pt x="829945" y="581026"/>
                  </a:lnTo>
                  <a:cubicBezTo>
                    <a:pt x="824864" y="579756"/>
                    <a:pt x="821055" y="579121"/>
                    <a:pt x="818515" y="579121"/>
                  </a:cubicBezTo>
                  <a:cubicBezTo>
                    <a:pt x="810260" y="579121"/>
                    <a:pt x="808989" y="582296"/>
                    <a:pt x="808989" y="586741"/>
                  </a:cubicBezTo>
                  <a:lnTo>
                    <a:pt x="808989" y="594361"/>
                  </a:lnTo>
                  <a:lnTo>
                    <a:pt x="824230" y="594361"/>
                  </a:lnTo>
                  <a:lnTo>
                    <a:pt x="824230" y="615951"/>
                  </a:lnTo>
                  <a:lnTo>
                    <a:pt x="808989" y="615951"/>
                  </a:lnTo>
                  <a:lnTo>
                    <a:pt x="808989" y="684531"/>
                  </a:lnTo>
                  <a:lnTo>
                    <a:pt x="786765" y="684531"/>
                  </a:lnTo>
                  <a:lnTo>
                    <a:pt x="786765" y="615951"/>
                  </a:lnTo>
                  <a:lnTo>
                    <a:pt x="775970" y="615951"/>
                  </a:lnTo>
                  <a:lnTo>
                    <a:pt x="775970" y="594361"/>
                  </a:lnTo>
                  <a:lnTo>
                    <a:pt x="786765" y="594361"/>
                  </a:lnTo>
                  <a:lnTo>
                    <a:pt x="786765" y="583566"/>
                  </a:lnTo>
                  <a:cubicBezTo>
                    <a:pt x="786765" y="567691"/>
                    <a:pt x="795019" y="560071"/>
                    <a:pt x="814070" y="560071"/>
                  </a:cubicBezTo>
                  <a:close/>
                  <a:moveTo>
                    <a:pt x="957579" y="559436"/>
                  </a:moveTo>
                  <a:lnTo>
                    <a:pt x="957579" y="594361"/>
                  </a:lnTo>
                  <a:lnTo>
                    <a:pt x="979170" y="594361"/>
                  </a:lnTo>
                  <a:lnTo>
                    <a:pt x="979170" y="615951"/>
                  </a:lnTo>
                  <a:lnTo>
                    <a:pt x="957579" y="615951"/>
                  </a:lnTo>
                  <a:lnTo>
                    <a:pt x="957579" y="654051"/>
                  </a:lnTo>
                  <a:cubicBezTo>
                    <a:pt x="957579" y="661671"/>
                    <a:pt x="960754" y="664846"/>
                    <a:pt x="966470" y="664846"/>
                  </a:cubicBezTo>
                  <a:cubicBezTo>
                    <a:pt x="972185" y="664846"/>
                    <a:pt x="977900" y="661671"/>
                    <a:pt x="981075" y="658496"/>
                  </a:cubicBezTo>
                  <a:lnTo>
                    <a:pt x="977900" y="681356"/>
                  </a:lnTo>
                  <a:cubicBezTo>
                    <a:pt x="973454" y="685166"/>
                    <a:pt x="965200" y="686436"/>
                    <a:pt x="959485" y="686436"/>
                  </a:cubicBezTo>
                  <a:cubicBezTo>
                    <a:pt x="945515" y="686436"/>
                    <a:pt x="935355" y="676276"/>
                    <a:pt x="935355" y="659766"/>
                  </a:cubicBezTo>
                  <a:lnTo>
                    <a:pt x="935355" y="615951"/>
                  </a:lnTo>
                  <a:lnTo>
                    <a:pt x="922655" y="615951"/>
                  </a:lnTo>
                  <a:lnTo>
                    <a:pt x="922655" y="594361"/>
                  </a:lnTo>
                  <a:lnTo>
                    <a:pt x="935355" y="594361"/>
                  </a:lnTo>
                  <a:lnTo>
                    <a:pt x="935355" y="570866"/>
                  </a:lnTo>
                  <a:close/>
                  <a:moveTo>
                    <a:pt x="586739" y="559436"/>
                  </a:moveTo>
                  <a:lnTo>
                    <a:pt x="586739" y="600711"/>
                  </a:lnTo>
                  <a:cubicBezTo>
                    <a:pt x="591820" y="595631"/>
                    <a:pt x="597534" y="592456"/>
                    <a:pt x="607695" y="592456"/>
                  </a:cubicBezTo>
                  <a:cubicBezTo>
                    <a:pt x="631825" y="592456"/>
                    <a:pt x="639445" y="610871"/>
                    <a:pt x="639445" y="633731"/>
                  </a:cubicBezTo>
                  <a:lnTo>
                    <a:pt x="639445" y="684531"/>
                  </a:lnTo>
                  <a:lnTo>
                    <a:pt x="617220" y="684531"/>
                  </a:lnTo>
                  <a:lnTo>
                    <a:pt x="617220" y="635636"/>
                  </a:lnTo>
                  <a:cubicBezTo>
                    <a:pt x="617220" y="623571"/>
                    <a:pt x="614680" y="614681"/>
                    <a:pt x="601980" y="614681"/>
                  </a:cubicBezTo>
                  <a:cubicBezTo>
                    <a:pt x="589280" y="614681"/>
                    <a:pt x="586739" y="622936"/>
                    <a:pt x="586739" y="635001"/>
                  </a:cubicBezTo>
                  <a:lnTo>
                    <a:pt x="586739" y="684531"/>
                  </a:lnTo>
                  <a:lnTo>
                    <a:pt x="564515" y="684531"/>
                  </a:lnTo>
                  <a:lnTo>
                    <a:pt x="564515" y="570866"/>
                  </a:lnTo>
                  <a:close/>
                  <a:moveTo>
                    <a:pt x="529590" y="559436"/>
                  </a:moveTo>
                  <a:lnTo>
                    <a:pt x="529590" y="594361"/>
                  </a:lnTo>
                  <a:lnTo>
                    <a:pt x="550545" y="594361"/>
                  </a:lnTo>
                  <a:lnTo>
                    <a:pt x="550545" y="615951"/>
                  </a:lnTo>
                  <a:lnTo>
                    <a:pt x="529590" y="615951"/>
                  </a:lnTo>
                  <a:lnTo>
                    <a:pt x="529590" y="654051"/>
                  </a:lnTo>
                  <a:cubicBezTo>
                    <a:pt x="529590" y="661671"/>
                    <a:pt x="532765" y="664846"/>
                    <a:pt x="538480" y="664846"/>
                  </a:cubicBezTo>
                  <a:cubicBezTo>
                    <a:pt x="544195" y="664846"/>
                    <a:pt x="549275" y="661671"/>
                    <a:pt x="553084" y="658496"/>
                  </a:cubicBezTo>
                  <a:lnTo>
                    <a:pt x="549909" y="681356"/>
                  </a:lnTo>
                  <a:cubicBezTo>
                    <a:pt x="545465" y="685166"/>
                    <a:pt x="537209" y="686436"/>
                    <a:pt x="531495" y="686436"/>
                  </a:cubicBezTo>
                  <a:cubicBezTo>
                    <a:pt x="517525" y="686436"/>
                    <a:pt x="507364" y="676276"/>
                    <a:pt x="507364" y="659766"/>
                  </a:cubicBezTo>
                  <a:lnTo>
                    <a:pt x="507364" y="615951"/>
                  </a:lnTo>
                  <a:lnTo>
                    <a:pt x="491489" y="615951"/>
                  </a:lnTo>
                  <a:lnTo>
                    <a:pt x="491489" y="594361"/>
                  </a:lnTo>
                  <a:lnTo>
                    <a:pt x="507364" y="594361"/>
                  </a:lnTo>
                  <a:lnTo>
                    <a:pt x="507364" y="570866"/>
                  </a:lnTo>
                  <a:close/>
                  <a:moveTo>
                    <a:pt x="128269" y="559436"/>
                  </a:moveTo>
                  <a:lnTo>
                    <a:pt x="128269" y="600711"/>
                  </a:lnTo>
                  <a:cubicBezTo>
                    <a:pt x="133349" y="595631"/>
                    <a:pt x="139064" y="592456"/>
                    <a:pt x="149224" y="592456"/>
                  </a:cubicBezTo>
                  <a:cubicBezTo>
                    <a:pt x="173355" y="592456"/>
                    <a:pt x="180974" y="610871"/>
                    <a:pt x="180974" y="633731"/>
                  </a:cubicBezTo>
                  <a:lnTo>
                    <a:pt x="180974" y="684531"/>
                  </a:lnTo>
                  <a:lnTo>
                    <a:pt x="158750" y="684531"/>
                  </a:lnTo>
                  <a:lnTo>
                    <a:pt x="158750" y="635636"/>
                  </a:lnTo>
                  <a:cubicBezTo>
                    <a:pt x="158750" y="623571"/>
                    <a:pt x="156209" y="614681"/>
                    <a:pt x="143510" y="614681"/>
                  </a:cubicBezTo>
                  <a:cubicBezTo>
                    <a:pt x="130810" y="614681"/>
                    <a:pt x="128269" y="622936"/>
                    <a:pt x="128269" y="635001"/>
                  </a:cubicBezTo>
                  <a:lnTo>
                    <a:pt x="128269" y="684531"/>
                  </a:lnTo>
                  <a:lnTo>
                    <a:pt x="106045" y="684531"/>
                  </a:lnTo>
                  <a:lnTo>
                    <a:pt x="106045" y="570866"/>
                  </a:lnTo>
                  <a:close/>
                  <a:moveTo>
                    <a:pt x="269875" y="635"/>
                  </a:moveTo>
                  <a:lnTo>
                    <a:pt x="501015" y="635"/>
                  </a:lnTo>
                  <a:lnTo>
                    <a:pt x="554989" y="94615"/>
                  </a:lnTo>
                  <a:lnTo>
                    <a:pt x="391795" y="94615"/>
                  </a:lnTo>
                  <a:lnTo>
                    <a:pt x="391795" y="161925"/>
                  </a:lnTo>
                  <a:lnTo>
                    <a:pt x="539114" y="161925"/>
                  </a:lnTo>
                  <a:lnTo>
                    <a:pt x="539114" y="247650"/>
                  </a:lnTo>
                  <a:lnTo>
                    <a:pt x="391795" y="247650"/>
                  </a:lnTo>
                  <a:lnTo>
                    <a:pt x="391795" y="314325"/>
                  </a:lnTo>
                  <a:lnTo>
                    <a:pt x="595629" y="314325"/>
                  </a:lnTo>
                  <a:lnTo>
                    <a:pt x="595629" y="408305"/>
                  </a:lnTo>
                  <a:lnTo>
                    <a:pt x="269875" y="408305"/>
                  </a:lnTo>
                  <a:close/>
                  <a:moveTo>
                    <a:pt x="539114" y="0"/>
                  </a:moveTo>
                  <a:lnTo>
                    <a:pt x="674370" y="0"/>
                  </a:lnTo>
                  <a:lnTo>
                    <a:pt x="743584" y="132715"/>
                  </a:lnTo>
                  <a:lnTo>
                    <a:pt x="812799" y="0"/>
                  </a:lnTo>
                  <a:lnTo>
                    <a:pt x="946150" y="0"/>
                  </a:lnTo>
                  <a:lnTo>
                    <a:pt x="803275" y="246380"/>
                  </a:lnTo>
                  <a:lnTo>
                    <a:pt x="803275" y="407670"/>
                  </a:lnTo>
                  <a:lnTo>
                    <a:pt x="681355" y="407670"/>
                  </a:lnTo>
                  <a:lnTo>
                    <a:pt x="681355" y="246380"/>
                  </a:lnTo>
                  <a:close/>
                </a:path>
              </a:pathLst>
            </a:custGeom>
            <a:solidFill>
              <a:srgbClr val="FFFFFF"/>
            </a:solidFill>
            <a:ln w="63500" cap="flat">
              <a:noFill/>
              <a:prstDash val="solid"/>
              <a:miter/>
            </a:ln>
          </p:spPr>
          <p:txBody>
            <a:bodyPr rtlCol="0" anchor="ctr"/>
            <a:lstStyle/>
            <a:p>
              <a:endParaRPr lang="en-US"/>
            </a:p>
          </p:txBody>
        </p:sp>
      </p:grpSp>
      <p:grpSp>
        <p:nvGrpSpPr>
          <p:cNvPr id="5" name="Group 4">
            <a:extLst>
              <a:ext uri="{FF2B5EF4-FFF2-40B4-BE49-F238E27FC236}">
                <a16:creationId xmlns:a16="http://schemas.microsoft.com/office/drawing/2014/main" id="{6DE89320-B084-3AA1-F041-ECD9699F7EF4}"/>
              </a:ext>
            </a:extLst>
          </p:cNvPr>
          <p:cNvGrpSpPr/>
          <p:nvPr userDrawn="1"/>
        </p:nvGrpSpPr>
        <p:grpSpPr>
          <a:xfrm>
            <a:off x="485775" y="6164633"/>
            <a:ext cx="4940935" cy="318770"/>
            <a:chOff x="485775" y="6164633"/>
            <a:chExt cx="4940935" cy="318770"/>
          </a:xfrm>
        </p:grpSpPr>
        <p:sp>
          <p:nvSpPr>
            <p:cNvPr id="24" name="Freeform 23">
              <a:extLst>
                <a:ext uri="{FF2B5EF4-FFF2-40B4-BE49-F238E27FC236}">
                  <a16:creationId xmlns:a16="http://schemas.microsoft.com/office/drawing/2014/main" id="{BDF3ED9A-57E4-25C5-BC4E-AC1C77798191}"/>
                </a:ext>
              </a:extLst>
            </p:cNvPr>
            <p:cNvSpPr/>
            <p:nvPr userDrawn="1"/>
          </p:nvSpPr>
          <p:spPr>
            <a:xfrm>
              <a:off x="485775" y="6164633"/>
              <a:ext cx="405765" cy="81280"/>
            </a:xfrm>
            <a:custGeom>
              <a:avLst/>
              <a:gdLst>
                <a:gd name="connsiteX0" fmla="*/ 324485 w 405765"/>
                <a:gd name="connsiteY0" fmla="*/ 0 h 81280"/>
                <a:gd name="connsiteX1" fmla="*/ 405765 w 405765"/>
                <a:gd name="connsiteY1" fmla="*/ 0 h 81280"/>
                <a:gd name="connsiteX2" fmla="*/ 405765 w 405765"/>
                <a:gd name="connsiteY2" fmla="*/ 81280 h 81280"/>
                <a:gd name="connsiteX3" fmla="*/ 324485 w 405765"/>
                <a:gd name="connsiteY3" fmla="*/ 81280 h 81280"/>
                <a:gd name="connsiteX4" fmla="*/ 161925 w 405765"/>
                <a:gd name="connsiteY4" fmla="*/ 0 h 81280"/>
                <a:gd name="connsiteX5" fmla="*/ 243205 w 405765"/>
                <a:gd name="connsiteY5" fmla="*/ 0 h 81280"/>
                <a:gd name="connsiteX6" fmla="*/ 243205 w 405765"/>
                <a:gd name="connsiteY6" fmla="*/ 81280 h 81280"/>
                <a:gd name="connsiteX7" fmla="*/ 161925 w 405765"/>
                <a:gd name="connsiteY7" fmla="*/ 81280 h 81280"/>
                <a:gd name="connsiteX8" fmla="*/ 0 w 405765"/>
                <a:gd name="connsiteY8" fmla="*/ 0 h 81280"/>
                <a:gd name="connsiteX9" fmla="*/ 81280 w 405765"/>
                <a:gd name="connsiteY9" fmla="*/ 0 h 81280"/>
                <a:gd name="connsiteX10" fmla="*/ 81280 w 405765"/>
                <a:gd name="connsiteY10" fmla="*/ 81280 h 81280"/>
                <a:gd name="connsiteX11" fmla="*/ 0 w 405765"/>
                <a:gd name="connsiteY11" fmla="*/ 81280 h 81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05765" h="81280">
                  <a:moveTo>
                    <a:pt x="324485" y="0"/>
                  </a:moveTo>
                  <a:lnTo>
                    <a:pt x="405765" y="0"/>
                  </a:lnTo>
                  <a:lnTo>
                    <a:pt x="405765" y="81280"/>
                  </a:lnTo>
                  <a:lnTo>
                    <a:pt x="324485" y="81280"/>
                  </a:lnTo>
                  <a:close/>
                  <a:moveTo>
                    <a:pt x="161925" y="0"/>
                  </a:moveTo>
                  <a:lnTo>
                    <a:pt x="243205" y="0"/>
                  </a:lnTo>
                  <a:lnTo>
                    <a:pt x="243205" y="81280"/>
                  </a:lnTo>
                  <a:lnTo>
                    <a:pt x="161925" y="81280"/>
                  </a:lnTo>
                  <a:close/>
                  <a:moveTo>
                    <a:pt x="0" y="0"/>
                  </a:moveTo>
                  <a:lnTo>
                    <a:pt x="81280" y="0"/>
                  </a:lnTo>
                  <a:lnTo>
                    <a:pt x="81280" y="81280"/>
                  </a:lnTo>
                  <a:lnTo>
                    <a:pt x="0" y="81280"/>
                  </a:lnTo>
                  <a:close/>
                </a:path>
              </a:pathLst>
            </a:custGeom>
            <a:solidFill>
              <a:srgbClr val="FFE600"/>
            </a:solidFill>
            <a:ln w="63500" cap="flat">
              <a:noFill/>
              <a:prstDash val="solid"/>
              <a:miter/>
            </a:ln>
          </p:spPr>
          <p:txBody>
            <a:bodyPr rtlCol="0" anchor="ctr"/>
            <a:lstStyle/>
            <a:p>
              <a:endParaRPr lang="en-US"/>
            </a:p>
          </p:txBody>
        </p:sp>
        <p:sp>
          <p:nvSpPr>
            <p:cNvPr id="25" name="Freeform 24">
              <a:extLst>
                <a:ext uri="{FF2B5EF4-FFF2-40B4-BE49-F238E27FC236}">
                  <a16:creationId xmlns:a16="http://schemas.microsoft.com/office/drawing/2014/main" id="{F8AD9B21-63CE-8D03-9802-DB2391C6BC13}"/>
                </a:ext>
              </a:extLst>
            </p:cNvPr>
            <p:cNvSpPr/>
            <p:nvPr userDrawn="1"/>
          </p:nvSpPr>
          <p:spPr bwMode="black">
            <a:xfrm>
              <a:off x="485779" y="6344974"/>
              <a:ext cx="4940931" cy="138429"/>
            </a:xfrm>
            <a:custGeom>
              <a:avLst/>
              <a:gdLst>
                <a:gd name="connsiteX0" fmla="*/ 1032512 w 4940931"/>
                <a:gd name="connsiteY0" fmla="*/ 137477 h 138429"/>
                <a:gd name="connsiteX1" fmla="*/ 1032512 w 4940931"/>
                <a:gd name="connsiteY1" fmla="*/ 137794 h 138429"/>
                <a:gd name="connsiteX2" fmla="*/ 1030607 w 4940931"/>
                <a:gd name="connsiteY2" fmla="*/ 138429 h 138429"/>
                <a:gd name="connsiteX3" fmla="*/ 4929501 w 4940931"/>
                <a:gd name="connsiteY3" fmla="*/ 87629 h 138429"/>
                <a:gd name="connsiteX4" fmla="*/ 4933946 w 4940931"/>
                <a:gd name="connsiteY4" fmla="*/ 88264 h 138429"/>
                <a:gd name="connsiteX5" fmla="*/ 4937756 w 4940931"/>
                <a:gd name="connsiteY5" fmla="*/ 90804 h 138429"/>
                <a:gd name="connsiteX6" fmla="*/ 4940296 w 4940931"/>
                <a:gd name="connsiteY6" fmla="*/ 94614 h 138429"/>
                <a:gd name="connsiteX7" fmla="*/ 4940931 w 4940931"/>
                <a:gd name="connsiteY7" fmla="*/ 99059 h 138429"/>
                <a:gd name="connsiteX8" fmla="*/ 4940296 w 4940931"/>
                <a:gd name="connsiteY8" fmla="*/ 103504 h 138429"/>
                <a:gd name="connsiteX9" fmla="*/ 4937756 w 4940931"/>
                <a:gd name="connsiteY9" fmla="*/ 107314 h 138429"/>
                <a:gd name="connsiteX10" fmla="*/ 4933946 w 4940931"/>
                <a:gd name="connsiteY10" fmla="*/ 109854 h 138429"/>
                <a:gd name="connsiteX11" fmla="*/ 4929501 w 4940931"/>
                <a:gd name="connsiteY11" fmla="*/ 110489 h 138429"/>
                <a:gd name="connsiteX12" fmla="*/ 4925056 w 4940931"/>
                <a:gd name="connsiteY12" fmla="*/ 109854 h 138429"/>
                <a:gd name="connsiteX13" fmla="*/ 4921246 w 4940931"/>
                <a:gd name="connsiteY13" fmla="*/ 107314 h 138429"/>
                <a:gd name="connsiteX14" fmla="*/ 4918706 w 4940931"/>
                <a:gd name="connsiteY14" fmla="*/ 103504 h 138429"/>
                <a:gd name="connsiteX15" fmla="*/ 4918071 w 4940931"/>
                <a:gd name="connsiteY15" fmla="*/ 99059 h 138429"/>
                <a:gd name="connsiteX16" fmla="*/ 4918706 w 4940931"/>
                <a:gd name="connsiteY16" fmla="*/ 94614 h 138429"/>
                <a:gd name="connsiteX17" fmla="*/ 4921246 w 4940931"/>
                <a:gd name="connsiteY17" fmla="*/ 90804 h 138429"/>
                <a:gd name="connsiteX18" fmla="*/ 4925056 w 4940931"/>
                <a:gd name="connsiteY18" fmla="*/ 88264 h 138429"/>
                <a:gd name="connsiteX19" fmla="*/ 4929501 w 4940931"/>
                <a:gd name="connsiteY19" fmla="*/ 87629 h 138429"/>
                <a:gd name="connsiteX20" fmla="*/ 3079110 w 4940931"/>
                <a:gd name="connsiteY20" fmla="*/ 87629 h 138429"/>
                <a:gd name="connsiteX21" fmla="*/ 3083555 w 4940931"/>
                <a:gd name="connsiteY21" fmla="*/ 88264 h 138429"/>
                <a:gd name="connsiteX22" fmla="*/ 3087365 w 4940931"/>
                <a:gd name="connsiteY22" fmla="*/ 90804 h 138429"/>
                <a:gd name="connsiteX23" fmla="*/ 3089905 w 4940931"/>
                <a:gd name="connsiteY23" fmla="*/ 94614 h 138429"/>
                <a:gd name="connsiteX24" fmla="*/ 3090540 w 4940931"/>
                <a:gd name="connsiteY24" fmla="*/ 99059 h 138429"/>
                <a:gd name="connsiteX25" fmla="*/ 3089905 w 4940931"/>
                <a:gd name="connsiteY25" fmla="*/ 103504 h 138429"/>
                <a:gd name="connsiteX26" fmla="*/ 3087365 w 4940931"/>
                <a:gd name="connsiteY26" fmla="*/ 107314 h 138429"/>
                <a:gd name="connsiteX27" fmla="*/ 3083555 w 4940931"/>
                <a:gd name="connsiteY27" fmla="*/ 109854 h 138429"/>
                <a:gd name="connsiteX28" fmla="*/ 3079110 w 4940931"/>
                <a:gd name="connsiteY28" fmla="*/ 110489 h 138429"/>
                <a:gd name="connsiteX29" fmla="*/ 3074665 w 4940931"/>
                <a:gd name="connsiteY29" fmla="*/ 109854 h 138429"/>
                <a:gd name="connsiteX30" fmla="*/ 3070855 w 4940931"/>
                <a:gd name="connsiteY30" fmla="*/ 107314 h 138429"/>
                <a:gd name="connsiteX31" fmla="*/ 3068315 w 4940931"/>
                <a:gd name="connsiteY31" fmla="*/ 103504 h 138429"/>
                <a:gd name="connsiteX32" fmla="*/ 3067680 w 4940931"/>
                <a:gd name="connsiteY32" fmla="*/ 99059 h 138429"/>
                <a:gd name="connsiteX33" fmla="*/ 3068315 w 4940931"/>
                <a:gd name="connsiteY33" fmla="*/ 94614 h 138429"/>
                <a:gd name="connsiteX34" fmla="*/ 3070855 w 4940931"/>
                <a:gd name="connsiteY34" fmla="*/ 90804 h 138429"/>
                <a:gd name="connsiteX35" fmla="*/ 3074665 w 4940931"/>
                <a:gd name="connsiteY35" fmla="*/ 88264 h 138429"/>
                <a:gd name="connsiteX36" fmla="*/ 3079110 w 4940931"/>
                <a:gd name="connsiteY36" fmla="*/ 87629 h 138429"/>
                <a:gd name="connsiteX37" fmla="*/ 1565275 w 4940931"/>
                <a:gd name="connsiteY37" fmla="*/ 87629 h 138429"/>
                <a:gd name="connsiteX38" fmla="*/ 1569720 w 4940931"/>
                <a:gd name="connsiteY38" fmla="*/ 88264 h 138429"/>
                <a:gd name="connsiteX39" fmla="*/ 1573529 w 4940931"/>
                <a:gd name="connsiteY39" fmla="*/ 90804 h 138429"/>
                <a:gd name="connsiteX40" fmla="*/ 1576069 w 4940931"/>
                <a:gd name="connsiteY40" fmla="*/ 94614 h 138429"/>
                <a:gd name="connsiteX41" fmla="*/ 1576705 w 4940931"/>
                <a:gd name="connsiteY41" fmla="*/ 99059 h 138429"/>
                <a:gd name="connsiteX42" fmla="*/ 1576069 w 4940931"/>
                <a:gd name="connsiteY42" fmla="*/ 103504 h 138429"/>
                <a:gd name="connsiteX43" fmla="*/ 1573529 w 4940931"/>
                <a:gd name="connsiteY43" fmla="*/ 107314 h 138429"/>
                <a:gd name="connsiteX44" fmla="*/ 1569720 w 4940931"/>
                <a:gd name="connsiteY44" fmla="*/ 109854 h 138429"/>
                <a:gd name="connsiteX45" fmla="*/ 1565275 w 4940931"/>
                <a:gd name="connsiteY45" fmla="*/ 110489 h 138429"/>
                <a:gd name="connsiteX46" fmla="*/ 1560830 w 4940931"/>
                <a:gd name="connsiteY46" fmla="*/ 109854 h 138429"/>
                <a:gd name="connsiteX47" fmla="*/ 1557020 w 4940931"/>
                <a:gd name="connsiteY47" fmla="*/ 107314 h 138429"/>
                <a:gd name="connsiteX48" fmla="*/ 1554479 w 4940931"/>
                <a:gd name="connsiteY48" fmla="*/ 103504 h 138429"/>
                <a:gd name="connsiteX49" fmla="*/ 1553844 w 4940931"/>
                <a:gd name="connsiteY49" fmla="*/ 99059 h 138429"/>
                <a:gd name="connsiteX50" fmla="*/ 1554479 w 4940931"/>
                <a:gd name="connsiteY50" fmla="*/ 94614 h 138429"/>
                <a:gd name="connsiteX51" fmla="*/ 1557020 w 4940931"/>
                <a:gd name="connsiteY51" fmla="*/ 90804 h 138429"/>
                <a:gd name="connsiteX52" fmla="*/ 1560830 w 4940931"/>
                <a:gd name="connsiteY52" fmla="*/ 88264 h 138429"/>
                <a:gd name="connsiteX53" fmla="*/ 1565275 w 4940931"/>
                <a:gd name="connsiteY53" fmla="*/ 87629 h 138429"/>
                <a:gd name="connsiteX54" fmla="*/ 2642230 w 4940931"/>
                <a:gd name="connsiteY54" fmla="*/ 73024 h 138429"/>
                <a:gd name="connsiteX55" fmla="*/ 2630800 w 4940931"/>
                <a:gd name="connsiteY55" fmla="*/ 76199 h 138429"/>
                <a:gd name="connsiteX56" fmla="*/ 2626355 w 4940931"/>
                <a:gd name="connsiteY56" fmla="*/ 84454 h 138429"/>
                <a:gd name="connsiteX57" fmla="*/ 2627625 w 4940931"/>
                <a:gd name="connsiteY57" fmla="*/ 90169 h 138429"/>
                <a:gd name="connsiteX58" fmla="*/ 2630800 w 4940931"/>
                <a:gd name="connsiteY58" fmla="*/ 93979 h 138429"/>
                <a:gd name="connsiteX59" fmla="*/ 2635245 w 4940931"/>
                <a:gd name="connsiteY59" fmla="*/ 96519 h 138429"/>
                <a:gd name="connsiteX60" fmla="*/ 2641595 w 4940931"/>
                <a:gd name="connsiteY60" fmla="*/ 97154 h 138429"/>
                <a:gd name="connsiteX61" fmla="*/ 2647310 w 4940931"/>
                <a:gd name="connsiteY61" fmla="*/ 96519 h 138429"/>
                <a:gd name="connsiteX62" fmla="*/ 2652390 w 4940931"/>
                <a:gd name="connsiteY62" fmla="*/ 93979 h 138429"/>
                <a:gd name="connsiteX63" fmla="*/ 2656835 w 4940931"/>
                <a:gd name="connsiteY63" fmla="*/ 90804 h 138429"/>
                <a:gd name="connsiteX64" fmla="*/ 2660010 w 4940931"/>
                <a:gd name="connsiteY64" fmla="*/ 86994 h 138429"/>
                <a:gd name="connsiteX65" fmla="*/ 2660010 w 4940931"/>
                <a:gd name="connsiteY65" fmla="*/ 75564 h 138429"/>
                <a:gd name="connsiteX66" fmla="*/ 2656200 w 4940931"/>
                <a:gd name="connsiteY66" fmla="*/ 74294 h 138429"/>
                <a:gd name="connsiteX67" fmla="*/ 2652390 w 4940931"/>
                <a:gd name="connsiteY67" fmla="*/ 73659 h 138429"/>
                <a:gd name="connsiteX68" fmla="*/ 2647945 w 4940931"/>
                <a:gd name="connsiteY68" fmla="*/ 73024 h 138429"/>
                <a:gd name="connsiteX69" fmla="*/ 2642230 w 4940931"/>
                <a:gd name="connsiteY69" fmla="*/ 73024 h 138429"/>
                <a:gd name="connsiteX70" fmla="*/ 4664706 w 4940931"/>
                <a:gd name="connsiteY70" fmla="*/ 43814 h 138429"/>
                <a:gd name="connsiteX71" fmla="*/ 4657086 w 4940931"/>
                <a:gd name="connsiteY71" fmla="*/ 45719 h 138429"/>
                <a:gd name="connsiteX72" fmla="*/ 4651371 w 4940931"/>
                <a:gd name="connsiteY72" fmla="*/ 50799 h 138429"/>
                <a:gd name="connsiteX73" fmla="*/ 4647561 w 4940931"/>
                <a:gd name="connsiteY73" fmla="*/ 59054 h 138429"/>
                <a:gd name="connsiteX74" fmla="*/ 4646291 w 4940931"/>
                <a:gd name="connsiteY74" fmla="*/ 69849 h 138429"/>
                <a:gd name="connsiteX75" fmla="*/ 4647561 w 4940931"/>
                <a:gd name="connsiteY75" fmla="*/ 81279 h 138429"/>
                <a:gd name="connsiteX76" fmla="*/ 4651371 w 4940931"/>
                <a:gd name="connsiteY76" fmla="*/ 89534 h 138429"/>
                <a:gd name="connsiteX77" fmla="*/ 4657721 w 4940931"/>
                <a:gd name="connsiteY77" fmla="*/ 94614 h 138429"/>
                <a:gd name="connsiteX78" fmla="*/ 4665341 w 4940931"/>
                <a:gd name="connsiteY78" fmla="*/ 96519 h 138429"/>
                <a:gd name="connsiteX79" fmla="*/ 4672961 w 4940931"/>
                <a:gd name="connsiteY79" fmla="*/ 94614 h 138429"/>
                <a:gd name="connsiteX80" fmla="*/ 4678676 w 4940931"/>
                <a:gd name="connsiteY80" fmla="*/ 88899 h 138429"/>
                <a:gd name="connsiteX81" fmla="*/ 4682486 w 4940931"/>
                <a:gd name="connsiteY81" fmla="*/ 80644 h 138429"/>
                <a:gd name="connsiteX82" fmla="*/ 4683756 w 4940931"/>
                <a:gd name="connsiteY82" fmla="*/ 70484 h 138429"/>
                <a:gd name="connsiteX83" fmla="*/ 4684391 w 4940931"/>
                <a:gd name="connsiteY83" fmla="*/ 69849 h 138429"/>
                <a:gd name="connsiteX84" fmla="*/ 4683121 w 4940931"/>
                <a:gd name="connsiteY84" fmla="*/ 59054 h 138429"/>
                <a:gd name="connsiteX85" fmla="*/ 4679311 w 4940931"/>
                <a:gd name="connsiteY85" fmla="*/ 50799 h 138429"/>
                <a:gd name="connsiteX86" fmla="*/ 4672961 w 4940931"/>
                <a:gd name="connsiteY86" fmla="*/ 45719 h 138429"/>
                <a:gd name="connsiteX87" fmla="*/ 4664706 w 4940931"/>
                <a:gd name="connsiteY87" fmla="*/ 43814 h 138429"/>
                <a:gd name="connsiteX88" fmla="*/ 4264020 w 4940931"/>
                <a:gd name="connsiteY88" fmla="*/ 43814 h 138429"/>
                <a:gd name="connsiteX89" fmla="*/ 4256400 w 4940931"/>
                <a:gd name="connsiteY89" fmla="*/ 45719 h 138429"/>
                <a:gd name="connsiteX90" fmla="*/ 4250685 w 4940931"/>
                <a:gd name="connsiteY90" fmla="*/ 50799 h 138429"/>
                <a:gd name="connsiteX91" fmla="*/ 4246875 w 4940931"/>
                <a:gd name="connsiteY91" fmla="*/ 59054 h 138429"/>
                <a:gd name="connsiteX92" fmla="*/ 4245605 w 4940931"/>
                <a:gd name="connsiteY92" fmla="*/ 69849 h 138429"/>
                <a:gd name="connsiteX93" fmla="*/ 4246875 w 4940931"/>
                <a:gd name="connsiteY93" fmla="*/ 81279 h 138429"/>
                <a:gd name="connsiteX94" fmla="*/ 4250685 w 4940931"/>
                <a:gd name="connsiteY94" fmla="*/ 89534 h 138429"/>
                <a:gd name="connsiteX95" fmla="*/ 4257035 w 4940931"/>
                <a:gd name="connsiteY95" fmla="*/ 94614 h 138429"/>
                <a:gd name="connsiteX96" fmla="*/ 4264655 w 4940931"/>
                <a:gd name="connsiteY96" fmla="*/ 96519 h 138429"/>
                <a:gd name="connsiteX97" fmla="*/ 4272275 w 4940931"/>
                <a:gd name="connsiteY97" fmla="*/ 94614 h 138429"/>
                <a:gd name="connsiteX98" fmla="*/ 4277990 w 4940931"/>
                <a:gd name="connsiteY98" fmla="*/ 88899 h 138429"/>
                <a:gd name="connsiteX99" fmla="*/ 4281800 w 4940931"/>
                <a:gd name="connsiteY99" fmla="*/ 80644 h 138429"/>
                <a:gd name="connsiteX100" fmla="*/ 4283070 w 4940931"/>
                <a:gd name="connsiteY100" fmla="*/ 70484 h 138429"/>
                <a:gd name="connsiteX101" fmla="*/ 4283705 w 4940931"/>
                <a:gd name="connsiteY101" fmla="*/ 69849 h 138429"/>
                <a:gd name="connsiteX102" fmla="*/ 4282435 w 4940931"/>
                <a:gd name="connsiteY102" fmla="*/ 59054 h 138429"/>
                <a:gd name="connsiteX103" fmla="*/ 4278625 w 4940931"/>
                <a:gd name="connsiteY103" fmla="*/ 50799 h 138429"/>
                <a:gd name="connsiteX104" fmla="*/ 4272275 w 4940931"/>
                <a:gd name="connsiteY104" fmla="*/ 45719 h 138429"/>
                <a:gd name="connsiteX105" fmla="*/ 4264020 w 4940931"/>
                <a:gd name="connsiteY105" fmla="*/ 43814 h 138429"/>
                <a:gd name="connsiteX106" fmla="*/ 1420495 w 4940931"/>
                <a:gd name="connsiteY106" fmla="*/ 43814 h 138429"/>
                <a:gd name="connsiteX107" fmla="*/ 1412875 w 4940931"/>
                <a:gd name="connsiteY107" fmla="*/ 45719 h 138429"/>
                <a:gd name="connsiteX108" fmla="*/ 1407160 w 4940931"/>
                <a:gd name="connsiteY108" fmla="*/ 50799 h 138429"/>
                <a:gd name="connsiteX109" fmla="*/ 1403350 w 4940931"/>
                <a:gd name="connsiteY109" fmla="*/ 59054 h 138429"/>
                <a:gd name="connsiteX110" fmla="*/ 1402080 w 4940931"/>
                <a:gd name="connsiteY110" fmla="*/ 69849 h 138429"/>
                <a:gd name="connsiteX111" fmla="*/ 1403350 w 4940931"/>
                <a:gd name="connsiteY111" fmla="*/ 81279 h 138429"/>
                <a:gd name="connsiteX112" fmla="*/ 1407160 w 4940931"/>
                <a:gd name="connsiteY112" fmla="*/ 89534 h 138429"/>
                <a:gd name="connsiteX113" fmla="*/ 1413510 w 4940931"/>
                <a:gd name="connsiteY113" fmla="*/ 94614 h 138429"/>
                <a:gd name="connsiteX114" fmla="*/ 1421130 w 4940931"/>
                <a:gd name="connsiteY114" fmla="*/ 96519 h 138429"/>
                <a:gd name="connsiteX115" fmla="*/ 1428750 w 4940931"/>
                <a:gd name="connsiteY115" fmla="*/ 94614 h 138429"/>
                <a:gd name="connsiteX116" fmla="*/ 1434465 w 4940931"/>
                <a:gd name="connsiteY116" fmla="*/ 88899 h 138429"/>
                <a:gd name="connsiteX117" fmla="*/ 1438275 w 4940931"/>
                <a:gd name="connsiteY117" fmla="*/ 80644 h 138429"/>
                <a:gd name="connsiteX118" fmla="*/ 1439545 w 4940931"/>
                <a:gd name="connsiteY118" fmla="*/ 70484 h 138429"/>
                <a:gd name="connsiteX119" fmla="*/ 1440180 w 4940931"/>
                <a:gd name="connsiteY119" fmla="*/ 69849 h 138429"/>
                <a:gd name="connsiteX120" fmla="*/ 1438910 w 4940931"/>
                <a:gd name="connsiteY120" fmla="*/ 59054 h 138429"/>
                <a:gd name="connsiteX121" fmla="*/ 1435100 w 4940931"/>
                <a:gd name="connsiteY121" fmla="*/ 50799 h 138429"/>
                <a:gd name="connsiteX122" fmla="*/ 1428750 w 4940931"/>
                <a:gd name="connsiteY122" fmla="*/ 45719 h 138429"/>
                <a:gd name="connsiteX123" fmla="*/ 1420495 w 4940931"/>
                <a:gd name="connsiteY123" fmla="*/ 43814 h 138429"/>
                <a:gd name="connsiteX124" fmla="*/ 4041770 w 4940931"/>
                <a:gd name="connsiteY124" fmla="*/ 43180 h 138429"/>
                <a:gd name="connsiteX125" fmla="*/ 4034785 w 4940931"/>
                <a:gd name="connsiteY125" fmla="*/ 44450 h 138429"/>
                <a:gd name="connsiteX126" fmla="*/ 4029705 w 4940931"/>
                <a:gd name="connsiteY126" fmla="*/ 48260 h 138429"/>
                <a:gd name="connsiteX127" fmla="*/ 4025895 w 4940931"/>
                <a:gd name="connsiteY127" fmla="*/ 54610 h 138429"/>
                <a:gd name="connsiteX128" fmla="*/ 4023990 w 4940931"/>
                <a:gd name="connsiteY128" fmla="*/ 62865 h 138429"/>
                <a:gd name="connsiteX129" fmla="*/ 4060185 w 4940931"/>
                <a:gd name="connsiteY129" fmla="*/ 62865 h 138429"/>
                <a:gd name="connsiteX130" fmla="*/ 4058915 w 4940931"/>
                <a:gd name="connsiteY130" fmla="*/ 55245 h 138429"/>
                <a:gd name="connsiteX131" fmla="*/ 4055740 w 4940931"/>
                <a:gd name="connsiteY131" fmla="*/ 48895 h 138429"/>
                <a:gd name="connsiteX132" fmla="*/ 4050025 w 4940931"/>
                <a:gd name="connsiteY132" fmla="*/ 44450 h 138429"/>
                <a:gd name="connsiteX133" fmla="*/ 4041770 w 4940931"/>
                <a:gd name="connsiteY133" fmla="*/ 43180 h 138429"/>
                <a:gd name="connsiteX134" fmla="*/ 3728081 w 4940931"/>
                <a:gd name="connsiteY134" fmla="*/ 43180 h 138429"/>
                <a:gd name="connsiteX135" fmla="*/ 3721096 w 4940931"/>
                <a:gd name="connsiteY135" fmla="*/ 44450 h 138429"/>
                <a:gd name="connsiteX136" fmla="*/ 3716016 w 4940931"/>
                <a:gd name="connsiteY136" fmla="*/ 48260 h 138429"/>
                <a:gd name="connsiteX137" fmla="*/ 3712206 w 4940931"/>
                <a:gd name="connsiteY137" fmla="*/ 54610 h 138429"/>
                <a:gd name="connsiteX138" fmla="*/ 3710301 w 4940931"/>
                <a:gd name="connsiteY138" fmla="*/ 62865 h 138429"/>
                <a:gd name="connsiteX139" fmla="*/ 3746496 w 4940931"/>
                <a:gd name="connsiteY139" fmla="*/ 62865 h 138429"/>
                <a:gd name="connsiteX140" fmla="*/ 3745226 w 4940931"/>
                <a:gd name="connsiteY140" fmla="*/ 55245 h 138429"/>
                <a:gd name="connsiteX141" fmla="*/ 3742051 w 4940931"/>
                <a:gd name="connsiteY141" fmla="*/ 48895 h 138429"/>
                <a:gd name="connsiteX142" fmla="*/ 3736336 w 4940931"/>
                <a:gd name="connsiteY142" fmla="*/ 44450 h 138429"/>
                <a:gd name="connsiteX143" fmla="*/ 3728081 w 4940931"/>
                <a:gd name="connsiteY143" fmla="*/ 43180 h 138429"/>
                <a:gd name="connsiteX144" fmla="*/ 3541391 w 4940931"/>
                <a:gd name="connsiteY144" fmla="*/ 43180 h 138429"/>
                <a:gd name="connsiteX145" fmla="*/ 3534406 w 4940931"/>
                <a:gd name="connsiteY145" fmla="*/ 44450 h 138429"/>
                <a:gd name="connsiteX146" fmla="*/ 3529326 w 4940931"/>
                <a:gd name="connsiteY146" fmla="*/ 48260 h 138429"/>
                <a:gd name="connsiteX147" fmla="*/ 3525516 w 4940931"/>
                <a:gd name="connsiteY147" fmla="*/ 54610 h 138429"/>
                <a:gd name="connsiteX148" fmla="*/ 3523611 w 4940931"/>
                <a:gd name="connsiteY148" fmla="*/ 62865 h 138429"/>
                <a:gd name="connsiteX149" fmla="*/ 3559806 w 4940931"/>
                <a:gd name="connsiteY149" fmla="*/ 62865 h 138429"/>
                <a:gd name="connsiteX150" fmla="*/ 3558536 w 4940931"/>
                <a:gd name="connsiteY150" fmla="*/ 55245 h 138429"/>
                <a:gd name="connsiteX151" fmla="*/ 3555361 w 4940931"/>
                <a:gd name="connsiteY151" fmla="*/ 48895 h 138429"/>
                <a:gd name="connsiteX152" fmla="*/ 3549646 w 4940931"/>
                <a:gd name="connsiteY152" fmla="*/ 44450 h 138429"/>
                <a:gd name="connsiteX153" fmla="*/ 3541391 w 4940931"/>
                <a:gd name="connsiteY153" fmla="*/ 43180 h 138429"/>
                <a:gd name="connsiteX154" fmla="*/ 3463285 w 4940931"/>
                <a:gd name="connsiteY154" fmla="*/ 43180 h 138429"/>
                <a:gd name="connsiteX155" fmla="*/ 3458205 w 4940931"/>
                <a:gd name="connsiteY155" fmla="*/ 43815 h 138429"/>
                <a:gd name="connsiteX156" fmla="*/ 3453125 w 4940931"/>
                <a:gd name="connsiteY156" fmla="*/ 45720 h 138429"/>
                <a:gd name="connsiteX157" fmla="*/ 3448680 w 4940931"/>
                <a:gd name="connsiteY157" fmla="*/ 48895 h 138429"/>
                <a:gd name="connsiteX158" fmla="*/ 3445505 w 4940931"/>
                <a:gd name="connsiteY158" fmla="*/ 52705 h 138429"/>
                <a:gd name="connsiteX159" fmla="*/ 3445505 w 4940931"/>
                <a:gd name="connsiteY159" fmla="*/ 85725 h 138429"/>
                <a:gd name="connsiteX160" fmla="*/ 3448680 w 4940931"/>
                <a:gd name="connsiteY160" fmla="*/ 89535 h 138429"/>
                <a:gd name="connsiteX161" fmla="*/ 3453125 w 4940931"/>
                <a:gd name="connsiteY161" fmla="*/ 92710 h 138429"/>
                <a:gd name="connsiteX162" fmla="*/ 3458205 w 4940931"/>
                <a:gd name="connsiteY162" fmla="*/ 95250 h 138429"/>
                <a:gd name="connsiteX163" fmla="*/ 3463920 w 4940931"/>
                <a:gd name="connsiteY163" fmla="*/ 95885 h 138429"/>
                <a:gd name="connsiteX164" fmla="*/ 3476620 w 4940931"/>
                <a:gd name="connsiteY164" fmla="*/ 89535 h 138429"/>
                <a:gd name="connsiteX165" fmla="*/ 3481065 w 4940931"/>
                <a:gd name="connsiteY165" fmla="*/ 71120 h 138429"/>
                <a:gd name="connsiteX166" fmla="*/ 3480430 w 4940931"/>
                <a:gd name="connsiteY166" fmla="*/ 71755 h 138429"/>
                <a:gd name="connsiteX167" fmla="*/ 3475985 w 4940931"/>
                <a:gd name="connsiteY167" fmla="*/ 50165 h 138429"/>
                <a:gd name="connsiteX168" fmla="*/ 3463285 w 4940931"/>
                <a:gd name="connsiteY168" fmla="*/ 43180 h 138429"/>
                <a:gd name="connsiteX169" fmla="*/ 3343271 w 4940931"/>
                <a:gd name="connsiteY169" fmla="*/ 43180 h 138429"/>
                <a:gd name="connsiteX170" fmla="*/ 3336286 w 4940931"/>
                <a:gd name="connsiteY170" fmla="*/ 44450 h 138429"/>
                <a:gd name="connsiteX171" fmla="*/ 3331206 w 4940931"/>
                <a:gd name="connsiteY171" fmla="*/ 48260 h 138429"/>
                <a:gd name="connsiteX172" fmla="*/ 3327396 w 4940931"/>
                <a:gd name="connsiteY172" fmla="*/ 54610 h 138429"/>
                <a:gd name="connsiteX173" fmla="*/ 3325491 w 4940931"/>
                <a:gd name="connsiteY173" fmla="*/ 62865 h 138429"/>
                <a:gd name="connsiteX174" fmla="*/ 3361686 w 4940931"/>
                <a:gd name="connsiteY174" fmla="*/ 62865 h 138429"/>
                <a:gd name="connsiteX175" fmla="*/ 3360416 w 4940931"/>
                <a:gd name="connsiteY175" fmla="*/ 55245 h 138429"/>
                <a:gd name="connsiteX176" fmla="*/ 3357241 w 4940931"/>
                <a:gd name="connsiteY176" fmla="*/ 48895 h 138429"/>
                <a:gd name="connsiteX177" fmla="*/ 3351526 w 4940931"/>
                <a:gd name="connsiteY177" fmla="*/ 44450 h 138429"/>
                <a:gd name="connsiteX178" fmla="*/ 3343271 w 4940931"/>
                <a:gd name="connsiteY178" fmla="*/ 43180 h 138429"/>
                <a:gd name="connsiteX179" fmla="*/ 2976876 w 4940931"/>
                <a:gd name="connsiteY179" fmla="*/ 43180 h 138429"/>
                <a:gd name="connsiteX180" fmla="*/ 2969891 w 4940931"/>
                <a:gd name="connsiteY180" fmla="*/ 44450 h 138429"/>
                <a:gd name="connsiteX181" fmla="*/ 2964811 w 4940931"/>
                <a:gd name="connsiteY181" fmla="*/ 48260 h 138429"/>
                <a:gd name="connsiteX182" fmla="*/ 2961001 w 4940931"/>
                <a:gd name="connsiteY182" fmla="*/ 54610 h 138429"/>
                <a:gd name="connsiteX183" fmla="*/ 2959096 w 4940931"/>
                <a:gd name="connsiteY183" fmla="*/ 62865 h 138429"/>
                <a:gd name="connsiteX184" fmla="*/ 2995291 w 4940931"/>
                <a:gd name="connsiteY184" fmla="*/ 62865 h 138429"/>
                <a:gd name="connsiteX185" fmla="*/ 2994021 w 4940931"/>
                <a:gd name="connsiteY185" fmla="*/ 55245 h 138429"/>
                <a:gd name="connsiteX186" fmla="*/ 2990846 w 4940931"/>
                <a:gd name="connsiteY186" fmla="*/ 48895 h 138429"/>
                <a:gd name="connsiteX187" fmla="*/ 2985131 w 4940931"/>
                <a:gd name="connsiteY187" fmla="*/ 44450 h 138429"/>
                <a:gd name="connsiteX188" fmla="*/ 2976876 w 4940931"/>
                <a:gd name="connsiteY188" fmla="*/ 43180 h 138429"/>
                <a:gd name="connsiteX189" fmla="*/ 2527930 w 4940931"/>
                <a:gd name="connsiteY189" fmla="*/ 43180 h 138429"/>
                <a:gd name="connsiteX190" fmla="*/ 2520945 w 4940931"/>
                <a:gd name="connsiteY190" fmla="*/ 44450 h 138429"/>
                <a:gd name="connsiteX191" fmla="*/ 2515865 w 4940931"/>
                <a:gd name="connsiteY191" fmla="*/ 48260 h 138429"/>
                <a:gd name="connsiteX192" fmla="*/ 2512055 w 4940931"/>
                <a:gd name="connsiteY192" fmla="*/ 54610 h 138429"/>
                <a:gd name="connsiteX193" fmla="*/ 2510150 w 4940931"/>
                <a:gd name="connsiteY193" fmla="*/ 62865 h 138429"/>
                <a:gd name="connsiteX194" fmla="*/ 2546345 w 4940931"/>
                <a:gd name="connsiteY194" fmla="*/ 62865 h 138429"/>
                <a:gd name="connsiteX195" fmla="*/ 2545075 w 4940931"/>
                <a:gd name="connsiteY195" fmla="*/ 55245 h 138429"/>
                <a:gd name="connsiteX196" fmla="*/ 2541900 w 4940931"/>
                <a:gd name="connsiteY196" fmla="*/ 48895 h 138429"/>
                <a:gd name="connsiteX197" fmla="*/ 2536185 w 4940931"/>
                <a:gd name="connsiteY197" fmla="*/ 44450 h 138429"/>
                <a:gd name="connsiteX198" fmla="*/ 2527930 w 4940931"/>
                <a:gd name="connsiteY198" fmla="*/ 43180 h 138429"/>
                <a:gd name="connsiteX199" fmla="*/ 2214240 w 4940931"/>
                <a:gd name="connsiteY199" fmla="*/ 43180 h 138429"/>
                <a:gd name="connsiteX200" fmla="*/ 2207255 w 4940931"/>
                <a:gd name="connsiteY200" fmla="*/ 44450 h 138429"/>
                <a:gd name="connsiteX201" fmla="*/ 2202175 w 4940931"/>
                <a:gd name="connsiteY201" fmla="*/ 48260 h 138429"/>
                <a:gd name="connsiteX202" fmla="*/ 2198365 w 4940931"/>
                <a:gd name="connsiteY202" fmla="*/ 54610 h 138429"/>
                <a:gd name="connsiteX203" fmla="*/ 2196460 w 4940931"/>
                <a:gd name="connsiteY203" fmla="*/ 62865 h 138429"/>
                <a:gd name="connsiteX204" fmla="*/ 2232655 w 4940931"/>
                <a:gd name="connsiteY204" fmla="*/ 62865 h 138429"/>
                <a:gd name="connsiteX205" fmla="*/ 2231385 w 4940931"/>
                <a:gd name="connsiteY205" fmla="*/ 55245 h 138429"/>
                <a:gd name="connsiteX206" fmla="*/ 2228210 w 4940931"/>
                <a:gd name="connsiteY206" fmla="*/ 48895 h 138429"/>
                <a:gd name="connsiteX207" fmla="*/ 2222495 w 4940931"/>
                <a:gd name="connsiteY207" fmla="*/ 44450 h 138429"/>
                <a:gd name="connsiteX208" fmla="*/ 2214240 w 4940931"/>
                <a:gd name="connsiteY208" fmla="*/ 43180 h 138429"/>
                <a:gd name="connsiteX209" fmla="*/ 2027551 w 4940931"/>
                <a:gd name="connsiteY209" fmla="*/ 43180 h 138429"/>
                <a:gd name="connsiteX210" fmla="*/ 2020566 w 4940931"/>
                <a:gd name="connsiteY210" fmla="*/ 44450 h 138429"/>
                <a:gd name="connsiteX211" fmla="*/ 2015486 w 4940931"/>
                <a:gd name="connsiteY211" fmla="*/ 48260 h 138429"/>
                <a:gd name="connsiteX212" fmla="*/ 2011676 w 4940931"/>
                <a:gd name="connsiteY212" fmla="*/ 54610 h 138429"/>
                <a:gd name="connsiteX213" fmla="*/ 2009771 w 4940931"/>
                <a:gd name="connsiteY213" fmla="*/ 62865 h 138429"/>
                <a:gd name="connsiteX214" fmla="*/ 2045966 w 4940931"/>
                <a:gd name="connsiteY214" fmla="*/ 62865 h 138429"/>
                <a:gd name="connsiteX215" fmla="*/ 2044696 w 4940931"/>
                <a:gd name="connsiteY215" fmla="*/ 55245 h 138429"/>
                <a:gd name="connsiteX216" fmla="*/ 2041521 w 4940931"/>
                <a:gd name="connsiteY216" fmla="*/ 48895 h 138429"/>
                <a:gd name="connsiteX217" fmla="*/ 2035806 w 4940931"/>
                <a:gd name="connsiteY217" fmla="*/ 44450 h 138429"/>
                <a:gd name="connsiteX218" fmla="*/ 2027551 w 4940931"/>
                <a:gd name="connsiteY218" fmla="*/ 43180 h 138429"/>
                <a:gd name="connsiteX219" fmla="*/ 1949445 w 4940931"/>
                <a:gd name="connsiteY219" fmla="*/ 43180 h 138429"/>
                <a:gd name="connsiteX220" fmla="*/ 1944365 w 4940931"/>
                <a:gd name="connsiteY220" fmla="*/ 43815 h 138429"/>
                <a:gd name="connsiteX221" fmla="*/ 1939285 w 4940931"/>
                <a:gd name="connsiteY221" fmla="*/ 45720 h 138429"/>
                <a:gd name="connsiteX222" fmla="*/ 1934840 w 4940931"/>
                <a:gd name="connsiteY222" fmla="*/ 48895 h 138429"/>
                <a:gd name="connsiteX223" fmla="*/ 1931665 w 4940931"/>
                <a:gd name="connsiteY223" fmla="*/ 52705 h 138429"/>
                <a:gd name="connsiteX224" fmla="*/ 1931665 w 4940931"/>
                <a:gd name="connsiteY224" fmla="*/ 85725 h 138429"/>
                <a:gd name="connsiteX225" fmla="*/ 1934840 w 4940931"/>
                <a:gd name="connsiteY225" fmla="*/ 89535 h 138429"/>
                <a:gd name="connsiteX226" fmla="*/ 1939285 w 4940931"/>
                <a:gd name="connsiteY226" fmla="*/ 92710 h 138429"/>
                <a:gd name="connsiteX227" fmla="*/ 1944365 w 4940931"/>
                <a:gd name="connsiteY227" fmla="*/ 95250 h 138429"/>
                <a:gd name="connsiteX228" fmla="*/ 1950080 w 4940931"/>
                <a:gd name="connsiteY228" fmla="*/ 95885 h 138429"/>
                <a:gd name="connsiteX229" fmla="*/ 1962780 w 4940931"/>
                <a:gd name="connsiteY229" fmla="*/ 89535 h 138429"/>
                <a:gd name="connsiteX230" fmla="*/ 1967225 w 4940931"/>
                <a:gd name="connsiteY230" fmla="*/ 71120 h 138429"/>
                <a:gd name="connsiteX231" fmla="*/ 1966590 w 4940931"/>
                <a:gd name="connsiteY231" fmla="*/ 71755 h 138429"/>
                <a:gd name="connsiteX232" fmla="*/ 1962145 w 4940931"/>
                <a:gd name="connsiteY232" fmla="*/ 50165 h 138429"/>
                <a:gd name="connsiteX233" fmla="*/ 1949445 w 4940931"/>
                <a:gd name="connsiteY233" fmla="*/ 43180 h 138429"/>
                <a:gd name="connsiteX234" fmla="*/ 1829431 w 4940931"/>
                <a:gd name="connsiteY234" fmla="*/ 43180 h 138429"/>
                <a:gd name="connsiteX235" fmla="*/ 1822446 w 4940931"/>
                <a:gd name="connsiteY235" fmla="*/ 44450 h 138429"/>
                <a:gd name="connsiteX236" fmla="*/ 1817366 w 4940931"/>
                <a:gd name="connsiteY236" fmla="*/ 48260 h 138429"/>
                <a:gd name="connsiteX237" fmla="*/ 1813556 w 4940931"/>
                <a:gd name="connsiteY237" fmla="*/ 54610 h 138429"/>
                <a:gd name="connsiteX238" fmla="*/ 1811651 w 4940931"/>
                <a:gd name="connsiteY238" fmla="*/ 62865 h 138429"/>
                <a:gd name="connsiteX239" fmla="*/ 1847846 w 4940931"/>
                <a:gd name="connsiteY239" fmla="*/ 62865 h 138429"/>
                <a:gd name="connsiteX240" fmla="*/ 1846576 w 4940931"/>
                <a:gd name="connsiteY240" fmla="*/ 55245 h 138429"/>
                <a:gd name="connsiteX241" fmla="*/ 1843401 w 4940931"/>
                <a:gd name="connsiteY241" fmla="*/ 48895 h 138429"/>
                <a:gd name="connsiteX242" fmla="*/ 1837686 w 4940931"/>
                <a:gd name="connsiteY242" fmla="*/ 44450 h 138429"/>
                <a:gd name="connsiteX243" fmla="*/ 1829431 w 4940931"/>
                <a:gd name="connsiteY243" fmla="*/ 43180 h 138429"/>
                <a:gd name="connsiteX244" fmla="*/ 1178561 w 4940931"/>
                <a:gd name="connsiteY244" fmla="*/ 43180 h 138429"/>
                <a:gd name="connsiteX245" fmla="*/ 1171576 w 4940931"/>
                <a:gd name="connsiteY245" fmla="*/ 44450 h 138429"/>
                <a:gd name="connsiteX246" fmla="*/ 1166496 w 4940931"/>
                <a:gd name="connsiteY246" fmla="*/ 48260 h 138429"/>
                <a:gd name="connsiteX247" fmla="*/ 1162686 w 4940931"/>
                <a:gd name="connsiteY247" fmla="*/ 54610 h 138429"/>
                <a:gd name="connsiteX248" fmla="*/ 1160781 w 4940931"/>
                <a:gd name="connsiteY248" fmla="*/ 62865 h 138429"/>
                <a:gd name="connsiteX249" fmla="*/ 1196976 w 4940931"/>
                <a:gd name="connsiteY249" fmla="*/ 62865 h 138429"/>
                <a:gd name="connsiteX250" fmla="*/ 1195706 w 4940931"/>
                <a:gd name="connsiteY250" fmla="*/ 55245 h 138429"/>
                <a:gd name="connsiteX251" fmla="*/ 1192531 w 4940931"/>
                <a:gd name="connsiteY251" fmla="*/ 48895 h 138429"/>
                <a:gd name="connsiteX252" fmla="*/ 1186816 w 4940931"/>
                <a:gd name="connsiteY252" fmla="*/ 44450 h 138429"/>
                <a:gd name="connsiteX253" fmla="*/ 1178561 w 4940931"/>
                <a:gd name="connsiteY253" fmla="*/ 43180 h 138429"/>
                <a:gd name="connsiteX254" fmla="*/ 898525 w 4940931"/>
                <a:gd name="connsiteY254" fmla="*/ 43180 h 138429"/>
                <a:gd name="connsiteX255" fmla="*/ 891540 w 4940931"/>
                <a:gd name="connsiteY255" fmla="*/ 44450 h 138429"/>
                <a:gd name="connsiteX256" fmla="*/ 886460 w 4940931"/>
                <a:gd name="connsiteY256" fmla="*/ 48260 h 138429"/>
                <a:gd name="connsiteX257" fmla="*/ 882650 w 4940931"/>
                <a:gd name="connsiteY257" fmla="*/ 54610 h 138429"/>
                <a:gd name="connsiteX258" fmla="*/ 880745 w 4940931"/>
                <a:gd name="connsiteY258" fmla="*/ 62865 h 138429"/>
                <a:gd name="connsiteX259" fmla="*/ 916940 w 4940931"/>
                <a:gd name="connsiteY259" fmla="*/ 62865 h 138429"/>
                <a:gd name="connsiteX260" fmla="*/ 915670 w 4940931"/>
                <a:gd name="connsiteY260" fmla="*/ 55245 h 138429"/>
                <a:gd name="connsiteX261" fmla="*/ 912495 w 4940931"/>
                <a:gd name="connsiteY261" fmla="*/ 48895 h 138429"/>
                <a:gd name="connsiteX262" fmla="*/ 906780 w 4940931"/>
                <a:gd name="connsiteY262" fmla="*/ 44450 h 138429"/>
                <a:gd name="connsiteX263" fmla="*/ 898525 w 4940931"/>
                <a:gd name="connsiteY263" fmla="*/ 43180 h 138429"/>
                <a:gd name="connsiteX264" fmla="*/ 584834 w 4940931"/>
                <a:gd name="connsiteY264" fmla="*/ 43180 h 138429"/>
                <a:gd name="connsiteX265" fmla="*/ 577849 w 4940931"/>
                <a:gd name="connsiteY265" fmla="*/ 44450 h 138429"/>
                <a:gd name="connsiteX266" fmla="*/ 572769 w 4940931"/>
                <a:gd name="connsiteY266" fmla="*/ 48260 h 138429"/>
                <a:gd name="connsiteX267" fmla="*/ 568959 w 4940931"/>
                <a:gd name="connsiteY267" fmla="*/ 54610 h 138429"/>
                <a:gd name="connsiteX268" fmla="*/ 567054 w 4940931"/>
                <a:gd name="connsiteY268" fmla="*/ 62865 h 138429"/>
                <a:gd name="connsiteX269" fmla="*/ 603249 w 4940931"/>
                <a:gd name="connsiteY269" fmla="*/ 62865 h 138429"/>
                <a:gd name="connsiteX270" fmla="*/ 601979 w 4940931"/>
                <a:gd name="connsiteY270" fmla="*/ 55245 h 138429"/>
                <a:gd name="connsiteX271" fmla="*/ 598804 w 4940931"/>
                <a:gd name="connsiteY271" fmla="*/ 48895 h 138429"/>
                <a:gd name="connsiteX272" fmla="*/ 593089 w 4940931"/>
                <a:gd name="connsiteY272" fmla="*/ 44450 h 138429"/>
                <a:gd name="connsiteX273" fmla="*/ 584834 w 4940931"/>
                <a:gd name="connsiteY273" fmla="*/ 43180 h 138429"/>
                <a:gd name="connsiteX274" fmla="*/ 398145 w 4940931"/>
                <a:gd name="connsiteY274" fmla="*/ 43180 h 138429"/>
                <a:gd name="connsiteX275" fmla="*/ 391160 w 4940931"/>
                <a:gd name="connsiteY275" fmla="*/ 44450 h 138429"/>
                <a:gd name="connsiteX276" fmla="*/ 386080 w 4940931"/>
                <a:gd name="connsiteY276" fmla="*/ 48260 h 138429"/>
                <a:gd name="connsiteX277" fmla="*/ 382270 w 4940931"/>
                <a:gd name="connsiteY277" fmla="*/ 54610 h 138429"/>
                <a:gd name="connsiteX278" fmla="*/ 380365 w 4940931"/>
                <a:gd name="connsiteY278" fmla="*/ 62865 h 138429"/>
                <a:gd name="connsiteX279" fmla="*/ 416560 w 4940931"/>
                <a:gd name="connsiteY279" fmla="*/ 62865 h 138429"/>
                <a:gd name="connsiteX280" fmla="*/ 415290 w 4940931"/>
                <a:gd name="connsiteY280" fmla="*/ 55245 h 138429"/>
                <a:gd name="connsiteX281" fmla="*/ 412115 w 4940931"/>
                <a:gd name="connsiteY281" fmla="*/ 48895 h 138429"/>
                <a:gd name="connsiteX282" fmla="*/ 406400 w 4940931"/>
                <a:gd name="connsiteY282" fmla="*/ 44450 h 138429"/>
                <a:gd name="connsiteX283" fmla="*/ 398145 w 4940931"/>
                <a:gd name="connsiteY283" fmla="*/ 43180 h 138429"/>
                <a:gd name="connsiteX284" fmla="*/ 320039 w 4940931"/>
                <a:gd name="connsiteY284" fmla="*/ 43180 h 138429"/>
                <a:gd name="connsiteX285" fmla="*/ 314959 w 4940931"/>
                <a:gd name="connsiteY285" fmla="*/ 43815 h 138429"/>
                <a:gd name="connsiteX286" fmla="*/ 309879 w 4940931"/>
                <a:gd name="connsiteY286" fmla="*/ 45720 h 138429"/>
                <a:gd name="connsiteX287" fmla="*/ 305434 w 4940931"/>
                <a:gd name="connsiteY287" fmla="*/ 48895 h 138429"/>
                <a:gd name="connsiteX288" fmla="*/ 302259 w 4940931"/>
                <a:gd name="connsiteY288" fmla="*/ 52705 h 138429"/>
                <a:gd name="connsiteX289" fmla="*/ 302259 w 4940931"/>
                <a:gd name="connsiteY289" fmla="*/ 85725 h 138429"/>
                <a:gd name="connsiteX290" fmla="*/ 305434 w 4940931"/>
                <a:gd name="connsiteY290" fmla="*/ 89535 h 138429"/>
                <a:gd name="connsiteX291" fmla="*/ 309879 w 4940931"/>
                <a:gd name="connsiteY291" fmla="*/ 92710 h 138429"/>
                <a:gd name="connsiteX292" fmla="*/ 314959 w 4940931"/>
                <a:gd name="connsiteY292" fmla="*/ 95250 h 138429"/>
                <a:gd name="connsiteX293" fmla="*/ 320674 w 4940931"/>
                <a:gd name="connsiteY293" fmla="*/ 95885 h 138429"/>
                <a:gd name="connsiteX294" fmla="*/ 333374 w 4940931"/>
                <a:gd name="connsiteY294" fmla="*/ 89535 h 138429"/>
                <a:gd name="connsiteX295" fmla="*/ 337819 w 4940931"/>
                <a:gd name="connsiteY295" fmla="*/ 71120 h 138429"/>
                <a:gd name="connsiteX296" fmla="*/ 337184 w 4940931"/>
                <a:gd name="connsiteY296" fmla="*/ 71755 h 138429"/>
                <a:gd name="connsiteX297" fmla="*/ 332739 w 4940931"/>
                <a:gd name="connsiteY297" fmla="*/ 50165 h 138429"/>
                <a:gd name="connsiteX298" fmla="*/ 320039 w 4940931"/>
                <a:gd name="connsiteY298" fmla="*/ 43180 h 138429"/>
                <a:gd name="connsiteX299" fmla="*/ 200025 w 4940931"/>
                <a:gd name="connsiteY299" fmla="*/ 43180 h 138429"/>
                <a:gd name="connsiteX300" fmla="*/ 193040 w 4940931"/>
                <a:gd name="connsiteY300" fmla="*/ 44450 h 138429"/>
                <a:gd name="connsiteX301" fmla="*/ 187960 w 4940931"/>
                <a:gd name="connsiteY301" fmla="*/ 48260 h 138429"/>
                <a:gd name="connsiteX302" fmla="*/ 184150 w 4940931"/>
                <a:gd name="connsiteY302" fmla="*/ 54610 h 138429"/>
                <a:gd name="connsiteX303" fmla="*/ 182245 w 4940931"/>
                <a:gd name="connsiteY303" fmla="*/ 62865 h 138429"/>
                <a:gd name="connsiteX304" fmla="*/ 218440 w 4940931"/>
                <a:gd name="connsiteY304" fmla="*/ 62865 h 138429"/>
                <a:gd name="connsiteX305" fmla="*/ 217170 w 4940931"/>
                <a:gd name="connsiteY305" fmla="*/ 55245 h 138429"/>
                <a:gd name="connsiteX306" fmla="*/ 213995 w 4940931"/>
                <a:gd name="connsiteY306" fmla="*/ 48895 h 138429"/>
                <a:gd name="connsiteX307" fmla="*/ 208280 w 4940931"/>
                <a:gd name="connsiteY307" fmla="*/ 44450 h 138429"/>
                <a:gd name="connsiteX308" fmla="*/ 200025 w 4940931"/>
                <a:gd name="connsiteY308" fmla="*/ 43180 h 138429"/>
                <a:gd name="connsiteX309" fmla="*/ 4439281 w 4940931"/>
                <a:gd name="connsiteY309" fmla="*/ 43179 h 138429"/>
                <a:gd name="connsiteX310" fmla="*/ 4426581 w 4940931"/>
                <a:gd name="connsiteY310" fmla="*/ 49529 h 138429"/>
                <a:gd name="connsiteX311" fmla="*/ 4422136 w 4940931"/>
                <a:gd name="connsiteY311" fmla="*/ 67944 h 138429"/>
                <a:gd name="connsiteX312" fmla="*/ 4423406 w 4940931"/>
                <a:gd name="connsiteY312" fmla="*/ 80644 h 138429"/>
                <a:gd name="connsiteX313" fmla="*/ 4426581 w 4940931"/>
                <a:gd name="connsiteY313" fmla="*/ 89534 h 138429"/>
                <a:gd name="connsiteX314" fmla="*/ 4432296 w 4940931"/>
                <a:gd name="connsiteY314" fmla="*/ 94614 h 138429"/>
                <a:gd name="connsiteX315" fmla="*/ 4439916 w 4940931"/>
                <a:gd name="connsiteY315" fmla="*/ 96519 h 138429"/>
                <a:gd name="connsiteX316" fmla="*/ 4444996 w 4940931"/>
                <a:gd name="connsiteY316" fmla="*/ 95884 h 138429"/>
                <a:gd name="connsiteX317" fmla="*/ 4450076 w 4940931"/>
                <a:gd name="connsiteY317" fmla="*/ 93344 h 138429"/>
                <a:gd name="connsiteX318" fmla="*/ 4454521 w 4940931"/>
                <a:gd name="connsiteY318" fmla="*/ 90169 h 138429"/>
                <a:gd name="connsiteX319" fmla="*/ 4457696 w 4940931"/>
                <a:gd name="connsiteY319" fmla="*/ 86359 h 138429"/>
                <a:gd name="connsiteX320" fmla="*/ 4457696 w 4940931"/>
                <a:gd name="connsiteY320" fmla="*/ 53339 h 138429"/>
                <a:gd name="connsiteX321" fmla="*/ 4454521 w 4940931"/>
                <a:gd name="connsiteY321" fmla="*/ 49529 h 138429"/>
                <a:gd name="connsiteX322" fmla="*/ 4450076 w 4940931"/>
                <a:gd name="connsiteY322" fmla="*/ 46354 h 138429"/>
                <a:gd name="connsiteX323" fmla="*/ 4444996 w 4940931"/>
                <a:gd name="connsiteY323" fmla="*/ 43814 h 138429"/>
                <a:gd name="connsiteX324" fmla="*/ 4439281 w 4940931"/>
                <a:gd name="connsiteY324" fmla="*/ 43179 h 138429"/>
                <a:gd name="connsiteX325" fmla="*/ 1014731 w 4940931"/>
                <a:gd name="connsiteY325" fmla="*/ 43179 h 138429"/>
                <a:gd name="connsiteX326" fmla="*/ 1002032 w 4940931"/>
                <a:gd name="connsiteY326" fmla="*/ 49529 h 138429"/>
                <a:gd name="connsiteX327" fmla="*/ 997587 w 4940931"/>
                <a:gd name="connsiteY327" fmla="*/ 67944 h 138429"/>
                <a:gd name="connsiteX328" fmla="*/ 1002032 w 4940931"/>
                <a:gd name="connsiteY328" fmla="*/ 88899 h 138429"/>
                <a:gd name="connsiteX329" fmla="*/ 1015367 w 4940931"/>
                <a:gd name="connsiteY329" fmla="*/ 95884 h 138429"/>
                <a:gd name="connsiteX330" fmla="*/ 1024891 w 4940931"/>
                <a:gd name="connsiteY330" fmla="*/ 93344 h 138429"/>
                <a:gd name="connsiteX331" fmla="*/ 1033147 w 4940931"/>
                <a:gd name="connsiteY331" fmla="*/ 86359 h 138429"/>
                <a:gd name="connsiteX332" fmla="*/ 1033147 w 4940931"/>
                <a:gd name="connsiteY332" fmla="*/ 53339 h 138429"/>
                <a:gd name="connsiteX333" fmla="*/ 1029971 w 4940931"/>
                <a:gd name="connsiteY333" fmla="*/ 49529 h 138429"/>
                <a:gd name="connsiteX334" fmla="*/ 1025526 w 4940931"/>
                <a:gd name="connsiteY334" fmla="*/ 46354 h 138429"/>
                <a:gd name="connsiteX335" fmla="*/ 1020446 w 4940931"/>
                <a:gd name="connsiteY335" fmla="*/ 43814 h 138429"/>
                <a:gd name="connsiteX336" fmla="*/ 1014731 w 4940931"/>
                <a:gd name="connsiteY336" fmla="*/ 43179 h 138429"/>
                <a:gd name="connsiteX337" fmla="*/ 4524370 w 4940931"/>
                <a:gd name="connsiteY337" fmla="*/ 31114 h 138429"/>
                <a:gd name="connsiteX338" fmla="*/ 4538975 w 4940931"/>
                <a:gd name="connsiteY338" fmla="*/ 31114 h 138429"/>
                <a:gd name="connsiteX339" fmla="*/ 4552310 w 4940931"/>
                <a:gd name="connsiteY339" fmla="*/ 84454 h 138429"/>
                <a:gd name="connsiteX340" fmla="*/ 4566915 w 4940931"/>
                <a:gd name="connsiteY340" fmla="*/ 31114 h 138429"/>
                <a:gd name="connsiteX341" fmla="*/ 4579615 w 4940931"/>
                <a:gd name="connsiteY341" fmla="*/ 31114 h 138429"/>
                <a:gd name="connsiteX342" fmla="*/ 4594220 w 4940931"/>
                <a:gd name="connsiteY342" fmla="*/ 84454 h 138429"/>
                <a:gd name="connsiteX343" fmla="*/ 4606920 w 4940931"/>
                <a:gd name="connsiteY343" fmla="*/ 31114 h 138429"/>
                <a:gd name="connsiteX344" fmla="*/ 4622160 w 4940931"/>
                <a:gd name="connsiteY344" fmla="*/ 31114 h 138429"/>
                <a:gd name="connsiteX345" fmla="*/ 4600570 w 4940931"/>
                <a:gd name="connsiteY345" fmla="*/ 108584 h 138429"/>
                <a:gd name="connsiteX346" fmla="*/ 4587235 w 4940931"/>
                <a:gd name="connsiteY346" fmla="*/ 108584 h 138429"/>
                <a:gd name="connsiteX347" fmla="*/ 4572630 w 4940931"/>
                <a:gd name="connsiteY347" fmla="*/ 54609 h 138429"/>
                <a:gd name="connsiteX348" fmla="*/ 4558660 w 4940931"/>
                <a:gd name="connsiteY348" fmla="*/ 108584 h 138429"/>
                <a:gd name="connsiteX349" fmla="*/ 4545325 w 4940931"/>
                <a:gd name="connsiteY349" fmla="*/ 108584 h 138429"/>
                <a:gd name="connsiteX350" fmla="*/ 4123686 w 4940931"/>
                <a:gd name="connsiteY350" fmla="*/ 31114 h 138429"/>
                <a:gd name="connsiteX351" fmla="*/ 4138926 w 4940931"/>
                <a:gd name="connsiteY351" fmla="*/ 31114 h 138429"/>
                <a:gd name="connsiteX352" fmla="*/ 4152261 w 4940931"/>
                <a:gd name="connsiteY352" fmla="*/ 84454 h 138429"/>
                <a:gd name="connsiteX353" fmla="*/ 4166866 w 4940931"/>
                <a:gd name="connsiteY353" fmla="*/ 31114 h 138429"/>
                <a:gd name="connsiteX354" fmla="*/ 4178931 w 4940931"/>
                <a:gd name="connsiteY354" fmla="*/ 31114 h 138429"/>
                <a:gd name="connsiteX355" fmla="*/ 4193536 w 4940931"/>
                <a:gd name="connsiteY355" fmla="*/ 84454 h 138429"/>
                <a:gd name="connsiteX356" fmla="*/ 4206871 w 4940931"/>
                <a:gd name="connsiteY356" fmla="*/ 31114 h 138429"/>
                <a:gd name="connsiteX357" fmla="*/ 4222111 w 4940931"/>
                <a:gd name="connsiteY357" fmla="*/ 31114 h 138429"/>
                <a:gd name="connsiteX358" fmla="*/ 4200521 w 4940931"/>
                <a:gd name="connsiteY358" fmla="*/ 108584 h 138429"/>
                <a:gd name="connsiteX359" fmla="*/ 4187186 w 4940931"/>
                <a:gd name="connsiteY359" fmla="*/ 108584 h 138429"/>
                <a:gd name="connsiteX360" fmla="*/ 4172581 w 4940931"/>
                <a:gd name="connsiteY360" fmla="*/ 54609 h 138429"/>
                <a:gd name="connsiteX361" fmla="*/ 4157976 w 4940931"/>
                <a:gd name="connsiteY361" fmla="*/ 108584 h 138429"/>
                <a:gd name="connsiteX362" fmla="*/ 4145276 w 4940931"/>
                <a:gd name="connsiteY362" fmla="*/ 108584 h 138429"/>
                <a:gd name="connsiteX363" fmla="*/ 2837811 w 4940931"/>
                <a:gd name="connsiteY363" fmla="*/ 31114 h 138429"/>
                <a:gd name="connsiteX364" fmla="*/ 2852416 w 4940931"/>
                <a:gd name="connsiteY364" fmla="*/ 31114 h 138429"/>
                <a:gd name="connsiteX365" fmla="*/ 2865751 w 4940931"/>
                <a:gd name="connsiteY365" fmla="*/ 84454 h 138429"/>
                <a:gd name="connsiteX366" fmla="*/ 2880356 w 4940931"/>
                <a:gd name="connsiteY366" fmla="*/ 31114 h 138429"/>
                <a:gd name="connsiteX367" fmla="*/ 2893056 w 4940931"/>
                <a:gd name="connsiteY367" fmla="*/ 31114 h 138429"/>
                <a:gd name="connsiteX368" fmla="*/ 2907661 w 4940931"/>
                <a:gd name="connsiteY368" fmla="*/ 84454 h 138429"/>
                <a:gd name="connsiteX369" fmla="*/ 2920361 w 4940931"/>
                <a:gd name="connsiteY369" fmla="*/ 31114 h 138429"/>
                <a:gd name="connsiteX370" fmla="*/ 2935601 w 4940931"/>
                <a:gd name="connsiteY370" fmla="*/ 31114 h 138429"/>
                <a:gd name="connsiteX371" fmla="*/ 2914011 w 4940931"/>
                <a:gd name="connsiteY371" fmla="*/ 108584 h 138429"/>
                <a:gd name="connsiteX372" fmla="*/ 2900676 w 4940931"/>
                <a:gd name="connsiteY372" fmla="*/ 108584 h 138429"/>
                <a:gd name="connsiteX373" fmla="*/ 2886706 w 4940931"/>
                <a:gd name="connsiteY373" fmla="*/ 54609 h 138429"/>
                <a:gd name="connsiteX374" fmla="*/ 2872101 w 4940931"/>
                <a:gd name="connsiteY374" fmla="*/ 108584 h 138429"/>
                <a:gd name="connsiteX375" fmla="*/ 2858766 w 4940931"/>
                <a:gd name="connsiteY375" fmla="*/ 108584 h 138429"/>
                <a:gd name="connsiteX376" fmla="*/ 1354455 w 4940931"/>
                <a:gd name="connsiteY376" fmla="*/ 31114 h 138429"/>
                <a:gd name="connsiteX377" fmla="*/ 1369695 w 4940931"/>
                <a:gd name="connsiteY377" fmla="*/ 31114 h 138429"/>
                <a:gd name="connsiteX378" fmla="*/ 1369695 w 4940931"/>
                <a:gd name="connsiteY378" fmla="*/ 109219 h 138429"/>
                <a:gd name="connsiteX379" fmla="*/ 1354455 w 4940931"/>
                <a:gd name="connsiteY379" fmla="*/ 109219 h 138429"/>
                <a:gd name="connsiteX380" fmla="*/ 2646040 w 4940931"/>
                <a:gd name="connsiteY380" fmla="*/ 29844 h 138429"/>
                <a:gd name="connsiteX381" fmla="*/ 2658105 w 4940931"/>
                <a:gd name="connsiteY381" fmla="*/ 31749 h 138429"/>
                <a:gd name="connsiteX382" fmla="*/ 2667630 w 4940931"/>
                <a:gd name="connsiteY382" fmla="*/ 36829 h 138429"/>
                <a:gd name="connsiteX383" fmla="*/ 2673345 w 4940931"/>
                <a:gd name="connsiteY383" fmla="*/ 45084 h 138429"/>
                <a:gd name="connsiteX384" fmla="*/ 2675250 w 4940931"/>
                <a:gd name="connsiteY384" fmla="*/ 56514 h 138429"/>
                <a:gd name="connsiteX385" fmla="*/ 2675250 w 4940931"/>
                <a:gd name="connsiteY385" fmla="*/ 109854 h 138429"/>
                <a:gd name="connsiteX386" fmla="*/ 2660010 w 4940931"/>
                <a:gd name="connsiteY386" fmla="*/ 109854 h 138429"/>
                <a:gd name="connsiteX387" fmla="*/ 2660010 w 4940931"/>
                <a:gd name="connsiteY387" fmla="*/ 108584 h 138429"/>
                <a:gd name="connsiteX388" fmla="*/ 2660010 w 4940931"/>
                <a:gd name="connsiteY388" fmla="*/ 100964 h 138429"/>
                <a:gd name="connsiteX389" fmla="*/ 2654930 w 4940931"/>
                <a:gd name="connsiteY389" fmla="*/ 104774 h 138429"/>
                <a:gd name="connsiteX390" fmla="*/ 2651120 w 4940931"/>
                <a:gd name="connsiteY390" fmla="*/ 107314 h 138429"/>
                <a:gd name="connsiteX391" fmla="*/ 2646040 w 4940931"/>
                <a:gd name="connsiteY391" fmla="*/ 109219 h 138429"/>
                <a:gd name="connsiteX392" fmla="*/ 2639055 w 4940931"/>
                <a:gd name="connsiteY392" fmla="*/ 109854 h 138429"/>
                <a:gd name="connsiteX393" fmla="*/ 2629530 w 4940931"/>
                <a:gd name="connsiteY393" fmla="*/ 108584 h 138429"/>
                <a:gd name="connsiteX394" fmla="*/ 2620640 w 4940931"/>
                <a:gd name="connsiteY394" fmla="*/ 104139 h 138429"/>
                <a:gd name="connsiteX395" fmla="*/ 2614290 w 4940931"/>
                <a:gd name="connsiteY395" fmla="*/ 95884 h 138429"/>
                <a:gd name="connsiteX396" fmla="*/ 2611750 w 4940931"/>
                <a:gd name="connsiteY396" fmla="*/ 83819 h 138429"/>
                <a:gd name="connsiteX397" fmla="*/ 2614290 w 4940931"/>
                <a:gd name="connsiteY397" fmla="*/ 72389 h 138429"/>
                <a:gd name="connsiteX398" fmla="*/ 2620640 w 4940931"/>
                <a:gd name="connsiteY398" fmla="*/ 64769 h 138429"/>
                <a:gd name="connsiteX399" fmla="*/ 2630800 w 4940931"/>
                <a:gd name="connsiteY399" fmla="*/ 60324 h 138429"/>
                <a:gd name="connsiteX400" fmla="*/ 2642865 w 4940931"/>
                <a:gd name="connsiteY400" fmla="*/ 59054 h 138429"/>
                <a:gd name="connsiteX401" fmla="*/ 2653025 w 4940931"/>
                <a:gd name="connsiteY401" fmla="*/ 59689 h 138429"/>
                <a:gd name="connsiteX402" fmla="*/ 2660010 w 4940931"/>
                <a:gd name="connsiteY402" fmla="*/ 61594 h 138429"/>
                <a:gd name="connsiteX403" fmla="*/ 2660010 w 4940931"/>
                <a:gd name="connsiteY403" fmla="*/ 55879 h 138429"/>
                <a:gd name="connsiteX404" fmla="*/ 2656200 w 4940931"/>
                <a:gd name="connsiteY404" fmla="*/ 46354 h 138429"/>
                <a:gd name="connsiteX405" fmla="*/ 2645405 w 4940931"/>
                <a:gd name="connsiteY405" fmla="*/ 43179 h 138429"/>
                <a:gd name="connsiteX406" fmla="*/ 2634610 w 4940931"/>
                <a:gd name="connsiteY406" fmla="*/ 44449 h 138429"/>
                <a:gd name="connsiteX407" fmla="*/ 2625085 w 4940931"/>
                <a:gd name="connsiteY407" fmla="*/ 48259 h 138429"/>
                <a:gd name="connsiteX408" fmla="*/ 2619370 w 4940931"/>
                <a:gd name="connsiteY408" fmla="*/ 36829 h 138429"/>
                <a:gd name="connsiteX409" fmla="*/ 2631435 w 4940931"/>
                <a:gd name="connsiteY409" fmla="*/ 31749 h 138429"/>
                <a:gd name="connsiteX410" fmla="*/ 2646040 w 4940931"/>
                <a:gd name="connsiteY410" fmla="*/ 29844 h 138429"/>
                <a:gd name="connsiteX411" fmla="*/ 1114426 w 4940931"/>
                <a:gd name="connsiteY411" fmla="*/ 29844 h 138429"/>
                <a:gd name="connsiteX412" fmla="*/ 1129666 w 4940931"/>
                <a:gd name="connsiteY412" fmla="*/ 29844 h 138429"/>
                <a:gd name="connsiteX413" fmla="*/ 1129666 w 4940931"/>
                <a:gd name="connsiteY413" fmla="*/ 107949 h 138429"/>
                <a:gd name="connsiteX414" fmla="*/ 1114426 w 4940931"/>
                <a:gd name="connsiteY414" fmla="*/ 107949 h 138429"/>
                <a:gd name="connsiteX415" fmla="*/ 1114426 w 4940931"/>
                <a:gd name="connsiteY415" fmla="*/ 100964 h 138429"/>
                <a:gd name="connsiteX416" fmla="*/ 1106171 w 4940931"/>
                <a:gd name="connsiteY416" fmla="*/ 107314 h 138429"/>
                <a:gd name="connsiteX417" fmla="*/ 1094741 w 4940931"/>
                <a:gd name="connsiteY417" fmla="*/ 109854 h 138429"/>
                <a:gd name="connsiteX418" fmla="*/ 1073786 w 4940931"/>
                <a:gd name="connsiteY418" fmla="*/ 100964 h 138429"/>
                <a:gd name="connsiteX419" fmla="*/ 1066800 w 4940931"/>
                <a:gd name="connsiteY419" fmla="*/ 74929 h 138429"/>
                <a:gd name="connsiteX420" fmla="*/ 1066800 w 4940931"/>
                <a:gd name="connsiteY420" fmla="*/ 30479 h 138429"/>
                <a:gd name="connsiteX421" fmla="*/ 1082040 w 4940931"/>
                <a:gd name="connsiteY421" fmla="*/ 30479 h 138429"/>
                <a:gd name="connsiteX422" fmla="*/ 1082040 w 4940931"/>
                <a:gd name="connsiteY422" fmla="*/ 74294 h 138429"/>
                <a:gd name="connsiteX423" fmla="*/ 1085851 w 4940931"/>
                <a:gd name="connsiteY423" fmla="*/ 90169 h 138429"/>
                <a:gd name="connsiteX424" fmla="*/ 1097916 w 4940931"/>
                <a:gd name="connsiteY424" fmla="*/ 95249 h 138429"/>
                <a:gd name="connsiteX425" fmla="*/ 1109981 w 4940931"/>
                <a:gd name="connsiteY425" fmla="*/ 90169 h 138429"/>
                <a:gd name="connsiteX426" fmla="*/ 1114426 w 4940931"/>
                <a:gd name="connsiteY426" fmla="*/ 75564 h 138429"/>
                <a:gd name="connsiteX427" fmla="*/ 1011556 w 4940931"/>
                <a:gd name="connsiteY427" fmla="*/ 29844 h 138429"/>
                <a:gd name="connsiteX428" fmla="*/ 1017272 w 4940931"/>
                <a:gd name="connsiteY428" fmla="*/ 30479 h 138429"/>
                <a:gd name="connsiteX429" fmla="*/ 1022352 w 4940931"/>
                <a:gd name="connsiteY429" fmla="*/ 32384 h 138429"/>
                <a:gd name="connsiteX430" fmla="*/ 1026797 w 4940931"/>
                <a:gd name="connsiteY430" fmla="*/ 35559 h 138429"/>
                <a:gd name="connsiteX431" fmla="*/ 1030607 w 4940931"/>
                <a:gd name="connsiteY431" fmla="*/ 38734 h 138429"/>
                <a:gd name="connsiteX432" fmla="*/ 1030607 w 4940931"/>
                <a:gd name="connsiteY432" fmla="*/ 31749 h 138429"/>
                <a:gd name="connsiteX433" fmla="*/ 1045847 w 4940931"/>
                <a:gd name="connsiteY433" fmla="*/ 31749 h 138429"/>
                <a:gd name="connsiteX434" fmla="*/ 1045847 w 4940931"/>
                <a:gd name="connsiteY434" fmla="*/ 130809 h 138429"/>
                <a:gd name="connsiteX435" fmla="*/ 1032512 w 4940931"/>
                <a:gd name="connsiteY435" fmla="*/ 137477 h 138429"/>
                <a:gd name="connsiteX436" fmla="*/ 1032512 w 4940931"/>
                <a:gd name="connsiteY436" fmla="*/ 101599 h 138429"/>
                <a:gd name="connsiteX437" fmla="*/ 1022986 w 4940931"/>
                <a:gd name="connsiteY437" fmla="*/ 107949 h 138429"/>
                <a:gd name="connsiteX438" fmla="*/ 1011556 w 4940931"/>
                <a:gd name="connsiteY438" fmla="*/ 110489 h 138429"/>
                <a:gd name="connsiteX439" fmla="*/ 999491 w 4940931"/>
                <a:gd name="connsiteY439" fmla="*/ 107949 h 138429"/>
                <a:gd name="connsiteX440" fmla="*/ 989966 w 4940931"/>
                <a:gd name="connsiteY440" fmla="*/ 100329 h 138429"/>
                <a:gd name="connsiteX441" fmla="*/ 983616 w 4940931"/>
                <a:gd name="connsiteY441" fmla="*/ 87629 h 138429"/>
                <a:gd name="connsiteX442" fmla="*/ 981076 w 4940931"/>
                <a:gd name="connsiteY442" fmla="*/ 68579 h 138429"/>
                <a:gd name="connsiteX443" fmla="*/ 983616 w 4940931"/>
                <a:gd name="connsiteY443" fmla="*/ 51434 h 138429"/>
                <a:gd name="connsiteX444" fmla="*/ 990601 w 4940931"/>
                <a:gd name="connsiteY444" fmla="*/ 39369 h 138429"/>
                <a:gd name="connsiteX445" fmla="*/ 1000126 w 4940931"/>
                <a:gd name="connsiteY445" fmla="*/ 32384 h 138429"/>
                <a:gd name="connsiteX446" fmla="*/ 1011556 w 4940931"/>
                <a:gd name="connsiteY446" fmla="*/ 29844 h 138429"/>
                <a:gd name="connsiteX447" fmla="*/ 4871716 w 4940931"/>
                <a:gd name="connsiteY447" fmla="*/ 29210 h 138429"/>
                <a:gd name="connsiteX448" fmla="*/ 4885686 w 4940931"/>
                <a:gd name="connsiteY448" fmla="*/ 31750 h 138429"/>
                <a:gd name="connsiteX449" fmla="*/ 4897751 w 4940931"/>
                <a:gd name="connsiteY449" fmla="*/ 38100 h 138429"/>
                <a:gd name="connsiteX450" fmla="*/ 4899021 w 4940931"/>
                <a:gd name="connsiteY450" fmla="*/ 38100 h 138429"/>
                <a:gd name="connsiteX451" fmla="*/ 4892036 w 4940931"/>
                <a:gd name="connsiteY451" fmla="*/ 50165 h 138429"/>
                <a:gd name="connsiteX452" fmla="*/ 4882511 w 4940931"/>
                <a:gd name="connsiteY452" fmla="*/ 45085 h 138429"/>
                <a:gd name="connsiteX453" fmla="*/ 4872351 w 4940931"/>
                <a:gd name="connsiteY453" fmla="*/ 43180 h 138429"/>
                <a:gd name="connsiteX454" fmla="*/ 4864096 w 4940931"/>
                <a:gd name="connsiteY454" fmla="*/ 45085 h 138429"/>
                <a:gd name="connsiteX455" fmla="*/ 4861556 w 4940931"/>
                <a:gd name="connsiteY455" fmla="*/ 50165 h 138429"/>
                <a:gd name="connsiteX456" fmla="*/ 4861556 w 4940931"/>
                <a:gd name="connsiteY456" fmla="*/ 52705 h 138429"/>
                <a:gd name="connsiteX457" fmla="*/ 4863461 w 4940931"/>
                <a:gd name="connsiteY457" fmla="*/ 55245 h 138429"/>
                <a:gd name="connsiteX458" fmla="*/ 4867906 w 4940931"/>
                <a:gd name="connsiteY458" fmla="*/ 57785 h 138429"/>
                <a:gd name="connsiteX459" fmla="*/ 4874891 w 4940931"/>
                <a:gd name="connsiteY459" fmla="*/ 60960 h 138429"/>
                <a:gd name="connsiteX460" fmla="*/ 4886321 w 4940931"/>
                <a:gd name="connsiteY460" fmla="*/ 66040 h 138429"/>
                <a:gd name="connsiteX461" fmla="*/ 4894576 w 4940931"/>
                <a:gd name="connsiteY461" fmla="*/ 71120 h 138429"/>
                <a:gd name="connsiteX462" fmla="*/ 4899656 w 4940931"/>
                <a:gd name="connsiteY462" fmla="*/ 78105 h 138429"/>
                <a:gd name="connsiteX463" fmla="*/ 4901561 w 4940931"/>
                <a:gd name="connsiteY463" fmla="*/ 87630 h 138429"/>
                <a:gd name="connsiteX464" fmla="*/ 4899021 w 4940931"/>
                <a:gd name="connsiteY464" fmla="*/ 98425 h 138429"/>
                <a:gd name="connsiteX465" fmla="*/ 4892671 w 4940931"/>
                <a:gd name="connsiteY465" fmla="*/ 105410 h 138429"/>
                <a:gd name="connsiteX466" fmla="*/ 4883146 w 4940931"/>
                <a:gd name="connsiteY466" fmla="*/ 109220 h 138429"/>
                <a:gd name="connsiteX467" fmla="*/ 4872351 w 4940931"/>
                <a:gd name="connsiteY467" fmla="*/ 110490 h 138429"/>
                <a:gd name="connsiteX468" fmla="*/ 4857111 w 4940931"/>
                <a:gd name="connsiteY468" fmla="*/ 107950 h 138429"/>
                <a:gd name="connsiteX469" fmla="*/ 4842506 w 4940931"/>
                <a:gd name="connsiteY469" fmla="*/ 100965 h 138429"/>
                <a:gd name="connsiteX470" fmla="*/ 4849491 w 4940931"/>
                <a:gd name="connsiteY470" fmla="*/ 89535 h 138429"/>
                <a:gd name="connsiteX471" fmla="*/ 4860921 w 4940931"/>
                <a:gd name="connsiteY471" fmla="*/ 95250 h 138429"/>
                <a:gd name="connsiteX472" fmla="*/ 4872351 w 4940931"/>
                <a:gd name="connsiteY472" fmla="*/ 97155 h 138429"/>
                <a:gd name="connsiteX473" fmla="*/ 4883146 w 4940931"/>
                <a:gd name="connsiteY473" fmla="*/ 94615 h 138429"/>
                <a:gd name="connsiteX474" fmla="*/ 4886321 w 4940931"/>
                <a:gd name="connsiteY474" fmla="*/ 88265 h 138429"/>
                <a:gd name="connsiteX475" fmla="*/ 4885051 w 4940931"/>
                <a:gd name="connsiteY475" fmla="*/ 84455 h 138429"/>
                <a:gd name="connsiteX476" fmla="*/ 4881241 w 4940931"/>
                <a:gd name="connsiteY476" fmla="*/ 81280 h 138429"/>
                <a:gd name="connsiteX477" fmla="*/ 4875526 w 4940931"/>
                <a:gd name="connsiteY477" fmla="*/ 78105 h 138429"/>
                <a:gd name="connsiteX478" fmla="*/ 4867906 w 4940931"/>
                <a:gd name="connsiteY478" fmla="*/ 74930 h 138429"/>
                <a:gd name="connsiteX479" fmla="*/ 4857111 w 4940931"/>
                <a:gd name="connsiteY479" fmla="*/ 69850 h 138429"/>
                <a:gd name="connsiteX480" fmla="*/ 4850126 w 4940931"/>
                <a:gd name="connsiteY480" fmla="*/ 64770 h 138429"/>
                <a:gd name="connsiteX481" fmla="*/ 4846316 w 4940931"/>
                <a:gd name="connsiteY481" fmla="*/ 58420 h 138429"/>
                <a:gd name="connsiteX482" fmla="*/ 4845046 w 4940931"/>
                <a:gd name="connsiteY482" fmla="*/ 50165 h 138429"/>
                <a:gd name="connsiteX483" fmla="*/ 4846951 w 4940931"/>
                <a:gd name="connsiteY483" fmla="*/ 40640 h 138429"/>
                <a:gd name="connsiteX484" fmla="*/ 4852666 w 4940931"/>
                <a:gd name="connsiteY484" fmla="*/ 34290 h 138429"/>
                <a:gd name="connsiteX485" fmla="*/ 4860921 w 4940931"/>
                <a:gd name="connsiteY485" fmla="*/ 30480 h 138429"/>
                <a:gd name="connsiteX486" fmla="*/ 4871716 w 4940931"/>
                <a:gd name="connsiteY486" fmla="*/ 29210 h 138429"/>
                <a:gd name="connsiteX487" fmla="*/ 4749796 w 4940931"/>
                <a:gd name="connsiteY487" fmla="*/ 29210 h 138429"/>
                <a:gd name="connsiteX488" fmla="*/ 4757416 w 4940931"/>
                <a:gd name="connsiteY488" fmla="*/ 29845 h 138429"/>
                <a:gd name="connsiteX489" fmla="*/ 4763131 w 4940931"/>
                <a:gd name="connsiteY489" fmla="*/ 32385 h 138429"/>
                <a:gd name="connsiteX490" fmla="*/ 4759321 w 4940931"/>
                <a:gd name="connsiteY490" fmla="*/ 46990 h 138429"/>
                <a:gd name="connsiteX491" fmla="*/ 4758051 w 4940931"/>
                <a:gd name="connsiteY491" fmla="*/ 46990 h 138429"/>
                <a:gd name="connsiteX492" fmla="*/ 4752971 w 4940931"/>
                <a:gd name="connsiteY492" fmla="*/ 45085 h 138429"/>
                <a:gd name="connsiteX493" fmla="*/ 4746621 w 4940931"/>
                <a:gd name="connsiteY493" fmla="*/ 44450 h 138429"/>
                <a:gd name="connsiteX494" fmla="*/ 4735191 w 4940931"/>
                <a:gd name="connsiteY494" fmla="*/ 49530 h 138429"/>
                <a:gd name="connsiteX495" fmla="*/ 4731381 w 4940931"/>
                <a:gd name="connsiteY495" fmla="*/ 64770 h 138429"/>
                <a:gd name="connsiteX496" fmla="*/ 4731381 w 4940931"/>
                <a:gd name="connsiteY496" fmla="*/ 109220 h 138429"/>
                <a:gd name="connsiteX497" fmla="*/ 4716141 w 4940931"/>
                <a:gd name="connsiteY497" fmla="*/ 109220 h 138429"/>
                <a:gd name="connsiteX498" fmla="*/ 4716141 w 4940931"/>
                <a:gd name="connsiteY498" fmla="*/ 31115 h 138429"/>
                <a:gd name="connsiteX499" fmla="*/ 4731381 w 4940931"/>
                <a:gd name="connsiteY499" fmla="*/ 31115 h 138429"/>
                <a:gd name="connsiteX500" fmla="*/ 4731381 w 4940931"/>
                <a:gd name="connsiteY500" fmla="*/ 38735 h 138429"/>
                <a:gd name="connsiteX501" fmla="*/ 4734556 w 4940931"/>
                <a:gd name="connsiteY501" fmla="*/ 34925 h 138429"/>
                <a:gd name="connsiteX502" fmla="*/ 4739001 w 4940931"/>
                <a:gd name="connsiteY502" fmla="*/ 31750 h 138429"/>
                <a:gd name="connsiteX503" fmla="*/ 4744081 w 4940931"/>
                <a:gd name="connsiteY503" fmla="*/ 29845 h 138429"/>
                <a:gd name="connsiteX504" fmla="*/ 4749796 w 4940931"/>
                <a:gd name="connsiteY504" fmla="*/ 29210 h 138429"/>
                <a:gd name="connsiteX505" fmla="*/ 4349110 w 4940931"/>
                <a:gd name="connsiteY505" fmla="*/ 29210 h 138429"/>
                <a:gd name="connsiteX506" fmla="*/ 4356730 w 4940931"/>
                <a:gd name="connsiteY506" fmla="*/ 29845 h 138429"/>
                <a:gd name="connsiteX507" fmla="*/ 4362445 w 4940931"/>
                <a:gd name="connsiteY507" fmla="*/ 32385 h 138429"/>
                <a:gd name="connsiteX508" fmla="*/ 4358635 w 4940931"/>
                <a:gd name="connsiteY508" fmla="*/ 46990 h 138429"/>
                <a:gd name="connsiteX509" fmla="*/ 4357365 w 4940931"/>
                <a:gd name="connsiteY509" fmla="*/ 46990 h 138429"/>
                <a:gd name="connsiteX510" fmla="*/ 4352285 w 4940931"/>
                <a:gd name="connsiteY510" fmla="*/ 45085 h 138429"/>
                <a:gd name="connsiteX511" fmla="*/ 4345935 w 4940931"/>
                <a:gd name="connsiteY511" fmla="*/ 44450 h 138429"/>
                <a:gd name="connsiteX512" fmla="*/ 4334505 w 4940931"/>
                <a:gd name="connsiteY512" fmla="*/ 49530 h 138429"/>
                <a:gd name="connsiteX513" fmla="*/ 4330695 w 4940931"/>
                <a:gd name="connsiteY513" fmla="*/ 64770 h 138429"/>
                <a:gd name="connsiteX514" fmla="*/ 4330695 w 4940931"/>
                <a:gd name="connsiteY514" fmla="*/ 109220 h 138429"/>
                <a:gd name="connsiteX515" fmla="*/ 4315455 w 4940931"/>
                <a:gd name="connsiteY515" fmla="*/ 109220 h 138429"/>
                <a:gd name="connsiteX516" fmla="*/ 4315455 w 4940931"/>
                <a:gd name="connsiteY516" fmla="*/ 31115 h 138429"/>
                <a:gd name="connsiteX517" fmla="*/ 4330695 w 4940931"/>
                <a:gd name="connsiteY517" fmla="*/ 31115 h 138429"/>
                <a:gd name="connsiteX518" fmla="*/ 4330695 w 4940931"/>
                <a:gd name="connsiteY518" fmla="*/ 38735 h 138429"/>
                <a:gd name="connsiteX519" fmla="*/ 4333870 w 4940931"/>
                <a:gd name="connsiteY519" fmla="*/ 34925 h 138429"/>
                <a:gd name="connsiteX520" fmla="*/ 4338315 w 4940931"/>
                <a:gd name="connsiteY520" fmla="*/ 31750 h 138429"/>
                <a:gd name="connsiteX521" fmla="*/ 4343395 w 4940931"/>
                <a:gd name="connsiteY521" fmla="*/ 29845 h 138429"/>
                <a:gd name="connsiteX522" fmla="*/ 4349110 w 4940931"/>
                <a:gd name="connsiteY522" fmla="*/ 29210 h 138429"/>
                <a:gd name="connsiteX523" fmla="*/ 4044310 w 4940931"/>
                <a:gd name="connsiteY523" fmla="*/ 29210 h 138429"/>
                <a:gd name="connsiteX524" fmla="*/ 4058915 w 4940931"/>
                <a:gd name="connsiteY524" fmla="*/ 32385 h 138429"/>
                <a:gd name="connsiteX525" fmla="*/ 4069075 w 4940931"/>
                <a:gd name="connsiteY525" fmla="*/ 40640 h 138429"/>
                <a:gd name="connsiteX526" fmla="*/ 4075425 w 4940931"/>
                <a:gd name="connsiteY526" fmla="*/ 53340 h 138429"/>
                <a:gd name="connsiteX527" fmla="*/ 4077330 w 4940931"/>
                <a:gd name="connsiteY527" fmla="*/ 68580 h 138429"/>
                <a:gd name="connsiteX528" fmla="*/ 4076060 w 4940931"/>
                <a:gd name="connsiteY528" fmla="*/ 68580 h 138429"/>
                <a:gd name="connsiteX529" fmla="*/ 4076060 w 4940931"/>
                <a:gd name="connsiteY529" fmla="*/ 72390 h 138429"/>
                <a:gd name="connsiteX530" fmla="*/ 4076060 w 4940931"/>
                <a:gd name="connsiteY530" fmla="*/ 75565 h 138429"/>
                <a:gd name="connsiteX531" fmla="*/ 4024625 w 4940931"/>
                <a:gd name="connsiteY531" fmla="*/ 75565 h 138429"/>
                <a:gd name="connsiteX532" fmla="*/ 4027165 w 4940931"/>
                <a:gd name="connsiteY532" fmla="*/ 85090 h 138429"/>
                <a:gd name="connsiteX533" fmla="*/ 4031610 w 4940931"/>
                <a:gd name="connsiteY533" fmla="*/ 91440 h 138429"/>
                <a:gd name="connsiteX534" fmla="*/ 4037325 w 4940931"/>
                <a:gd name="connsiteY534" fmla="*/ 95250 h 138429"/>
                <a:gd name="connsiteX535" fmla="*/ 4044310 w 4940931"/>
                <a:gd name="connsiteY535" fmla="*/ 96520 h 138429"/>
                <a:gd name="connsiteX536" fmla="*/ 4049390 w 4940931"/>
                <a:gd name="connsiteY536" fmla="*/ 96520 h 138429"/>
                <a:gd name="connsiteX537" fmla="*/ 4053835 w 4940931"/>
                <a:gd name="connsiteY537" fmla="*/ 95250 h 138429"/>
                <a:gd name="connsiteX538" fmla="*/ 4057645 w 4940931"/>
                <a:gd name="connsiteY538" fmla="*/ 93345 h 138429"/>
                <a:gd name="connsiteX539" fmla="*/ 4062090 w 4940931"/>
                <a:gd name="connsiteY539" fmla="*/ 90805 h 138429"/>
                <a:gd name="connsiteX540" fmla="*/ 4070980 w 4940931"/>
                <a:gd name="connsiteY540" fmla="*/ 100330 h 138429"/>
                <a:gd name="connsiteX541" fmla="*/ 4065265 w 4940931"/>
                <a:gd name="connsiteY541" fmla="*/ 104775 h 138429"/>
                <a:gd name="connsiteX542" fmla="*/ 4059550 w 4940931"/>
                <a:gd name="connsiteY542" fmla="*/ 107950 h 138429"/>
                <a:gd name="connsiteX543" fmla="*/ 4052565 w 4940931"/>
                <a:gd name="connsiteY543" fmla="*/ 109855 h 138429"/>
                <a:gd name="connsiteX544" fmla="*/ 4043675 w 4940931"/>
                <a:gd name="connsiteY544" fmla="*/ 110490 h 138429"/>
                <a:gd name="connsiteX545" fmla="*/ 4034150 w 4940931"/>
                <a:gd name="connsiteY545" fmla="*/ 109220 h 138429"/>
                <a:gd name="connsiteX546" fmla="*/ 4026530 w 4940931"/>
                <a:gd name="connsiteY546" fmla="*/ 105410 h 138429"/>
                <a:gd name="connsiteX547" fmla="*/ 4020180 w 4940931"/>
                <a:gd name="connsiteY547" fmla="*/ 100330 h 138429"/>
                <a:gd name="connsiteX548" fmla="*/ 4015100 w 4940931"/>
                <a:gd name="connsiteY548" fmla="*/ 92710 h 138429"/>
                <a:gd name="connsiteX549" fmla="*/ 4011290 w 4940931"/>
                <a:gd name="connsiteY549" fmla="*/ 82550 h 138429"/>
                <a:gd name="connsiteX550" fmla="*/ 4010020 w 4940931"/>
                <a:gd name="connsiteY550" fmla="*/ 69850 h 138429"/>
                <a:gd name="connsiteX551" fmla="*/ 4012560 w 4940931"/>
                <a:gd name="connsiteY551" fmla="*/ 52070 h 138429"/>
                <a:gd name="connsiteX552" fmla="*/ 4019545 w 4940931"/>
                <a:gd name="connsiteY552" fmla="*/ 39370 h 138429"/>
                <a:gd name="connsiteX553" fmla="*/ 4030340 w 4940931"/>
                <a:gd name="connsiteY553" fmla="*/ 31750 h 138429"/>
                <a:gd name="connsiteX554" fmla="*/ 4044310 w 4940931"/>
                <a:gd name="connsiteY554" fmla="*/ 29210 h 138429"/>
                <a:gd name="connsiteX555" fmla="*/ 3811900 w 4940931"/>
                <a:gd name="connsiteY555" fmla="*/ 29210 h 138429"/>
                <a:gd name="connsiteX556" fmla="*/ 3819520 w 4940931"/>
                <a:gd name="connsiteY556" fmla="*/ 29845 h 138429"/>
                <a:gd name="connsiteX557" fmla="*/ 3825235 w 4940931"/>
                <a:gd name="connsiteY557" fmla="*/ 32385 h 138429"/>
                <a:gd name="connsiteX558" fmla="*/ 3821425 w 4940931"/>
                <a:gd name="connsiteY558" fmla="*/ 46990 h 138429"/>
                <a:gd name="connsiteX559" fmla="*/ 3820155 w 4940931"/>
                <a:gd name="connsiteY559" fmla="*/ 46990 h 138429"/>
                <a:gd name="connsiteX560" fmla="*/ 3815075 w 4940931"/>
                <a:gd name="connsiteY560" fmla="*/ 45085 h 138429"/>
                <a:gd name="connsiteX561" fmla="*/ 3808725 w 4940931"/>
                <a:gd name="connsiteY561" fmla="*/ 44450 h 138429"/>
                <a:gd name="connsiteX562" fmla="*/ 3797295 w 4940931"/>
                <a:gd name="connsiteY562" fmla="*/ 49530 h 138429"/>
                <a:gd name="connsiteX563" fmla="*/ 3793485 w 4940931"/>
                <a:gd name="connsiteY563" fmla="*/ 64770 h 138429"/>
                <a:gd name="connsiteX564" fmla="*/ 3793485 w 4940931"/>
                <a:gd name="connsiteY564" fmla="*/ 109220 h 138429"/>
                <a:gd name="connsiteX565" fmla="*/ 3778245 w 4940931"/>
                <a:gd name="connsiteY565" fmla="*/ 109220 h 138429"/>
                <a:gd name="connsiteX566" fmla="*/ 3778245 w 4940931"/>
                <a:gd name="connsiteY566" fmla="*/ 31115 h 138429"/>
                <a:gd name="connsiteX567" fmla="*/ 3793485 w 4940931"/>
                <a:gd name="connsiteY567" fmla="*/ 31115 h 138429"/>
                <a:gd name="connsiteX568" fmla="*/ 3793485 w 4940931"/>
                <a:gd name="connsiteY568" fmla="*/ 38735 h 138429"/>
                <a:gd name="connsiteX569" fmla="*/ 3796660 w 4940931"/>
                <a:gd name="connsiteY569" fmla="*/ 34925 h 138429"/>
                <a:gd name="connsiteX570" fmla="*/ 3801105 w 4940931"/>
                <a:gd name="connsiteY570" fmla="*/ 31750 h 138429"/>
                <a:gd name="connsiteX571" fmla="*/ 3806185 w 4940931"/>
                <a:gd name="connsiteY571" fmla="*/ 29845 h 138429"/>
                <a:gd name="connsiteX572" fmla="*/ 3811900 w 4940931"/>
                <a:gd name="connsiteY572" fmla="*/ 29210 h 138429"/>
                <a:gd name="connsiteX573" fmla="*/ 3729986 w 4940931"/>
                <a:gd name="connsiteY573" fmla="*/ 29210 h 138429"/>
                <a:gd name="connsiteX574" fmla="*/ 3744591 w 4940931"/>
                <a:gd name="connsiteY574" fmla="*/ 32385 h 138429"/>
                <a:gd name="connsiteX575" fmla="*/ 3754751 w 4940931"/>
                <a:gd name="connsiteY575" fmla="*/ 40640 h 138429"/>
                <a:gd name="connsiteX576" fmla="*/ 3761101 w 4940931"/>
                <a:gd name="connsiteY576" fmla="*/ 53340 h 138429"/>
                <a:gd name="connsiteX577" fmla="*/ 3763006 w 4940931"/>
                <a:gd name="connsiteY577" fmla="*/ 68580 h 138429"/>
                <a:gd name="connsiteX578" fmla="*/ 3761736 w 4940931"/>
                <a:gd name="connsiteY578" fmla="*/ 68580 h 138429"/>
                <a:gd name="connsiteX579" fmla="*/ 3761736 w 4940931"/>
                <a:gd name="connsiteY579" fmla="*/ 72390 h 138429"/>
                <a:gd name="connsiteX580" fmla="*/ 3761736 w 4940931"/>
                <a:gd name="connsiteY580" fmla="*/ 75565 h 138429"/>
                <a:gd name="connsiteX581" fmla="*/ 3710301 w 4940931"/>
                <a:gd name="connsiteY581" fmla="*/ 75565 h 138429"/>
                <a:gd name="connsiteX582" fmla="*/ 3712841 w 4940931"/>
                <a:gd name="connsiteY582" fmla="*/ 85090 h 138429"/>
                <a:gd name="connsiteX583" fmla="*/ 3717286 w 4940931"/>
                <a:gd name="connsiteY583" fmla="*/ 91440 h 138429"/>
                <a:gd name="connsiteX584" fmla="*/ 3723001 w 4940931"/>
                <a:gd name="connsiteY584" fmla="*/ 95250 h 138429"/>
                <a:gd name="connsiteX585" fmla="*/ 3729986 w 4940931"/>
                <a:gd name="connsiteY585" fmla="*/ 96520 h 138429"/>
                <a:gd name="connsiteX586" fmla="*/ 3735066 w 4940931"/>
                <a:gd name="connsiteY586" fmla="*/ 96520 h 138429"/>
                <a:gd name="connsiteX587" fmla="*/ 3739511 w 4940931"/>
                <a:gd name="connsiteY587" fmla="*/ 95250 h 138429"/>
                <a:gd name="connsiteX588" fmla="*/ 3743321 w 4940931"/>
                <a:gd name="connsiteY588" fmla="*/ 93345 h 138429"/>
                <a:gd name="connsiteX589" fmla="*/ 3747766 w 4940931"/>
                <a:gd name="connsiteY589" fmla="*/ 90805 h 138429"/>
                <a:gd name="connsiteX590" fmla="*/ 3756656 w 4940931"/>
                <a:gd name="connsiteY590" fmla="*/ 100330 h 138429"/>
                <a:gd name="connsiteX591" fmla="*/ 3750941 w 4940931"/>
                <a:gd name="connsiteY591" fmla="*/ 104775 h 138429"/>
                <a:gd name="connsiteX592" fmla="*/ 3745226 w 4940931"/>
                <a:gd name="connsiteY592" fmla="*/ 107950 h 138429"/>
                <a:gd name="connsiteX593" fmla="*/ 3738241 w 4940931"/>
                <a:gd name="connsiteY593" fmla="*/ 109855 h 138429"/>
                <a:gd name="connsiteX594" fmla="*/ 3729351 w 4940931"/>
                <a:gd name="connsiteY594" fmla="*/ 110490 h 138429"/>
                <a:gd name="connsiteX595" fmla="*/ 3719826 w 4940931"/>
                <a:gd name="connsiteY595" fmla="*/ 109220 h 138429"/>
                <a:gd name="connsiteX596" fmla="*/ 3712206 w 4940931"/>
                <a:gd name="connsiteY596" fmla="*/ 105410 h 138429"/>
                <a:gd name="connsiteX597" fmla="*/ 3705856 w 4940931"/>
                <a:gd name="connsiteY597" fmla="*/ 100330 h 138429"/>
                <a:gd name="connsiteX598" fmla="*/ 3700776 w 4940931"/>
                <a:gd name="connsiteY598" fmla="*/ 92710 h 138429"/>
                <a:gd name="connsiteX599" fmla="*/ 3696966 w 4940931"/>
                <a:gd name="connsiteY599" fmla="*/ 82550 h 138429"/>
                <a:gd name="connsiteX600" fmla="*/ 3695696 w 4940931"/>
                <a:gd name="connsiteY600" fmla="*/ 69850 h 138429"/>
                <a:gd name="connsiteX601" fmla="*/ 3698236 w 4940931"/>
                <a:gd name="connsiteY601" fmla="*/ 52070 h 138429"/>
                <a:gd name="connsiteX602" fmla="*/ 3705221 w 4940931"/>
                <a:gd name="connsiteY602" fmla="*/ 39370 h 138429"/>
                <a:gd name="connsiteX603" fmla="*/ 3716016 w 4940931"/>
                <a:gd name="connsiteY603" fmla="*/ 31750 h 138429"/>
                <a:gd name="connsiteX604" fmla="*/ 3729986 w 4940931"/>
                <a:gd name="connsiteY604" fmla="*/ 29210 h 138429"/>
                <a:gd name="connsiteX605" fmla="*/ 3543296 w 4940931"/>
                <a:gd name="connsiteY605" fmla="*/ 29210 h 138429"/>
                <a:gd name="connsiteX606" fmla="*/ 3557901 w 4940931"/>
                <a:gd name="connsiteY606" fmla="*/ 32385 h 138429"/>
                <a:gd name="connsiteX607" fmla="*/ 3568061 w 4940931"/>
                <a:gd name="connsiteY607" fmla="*/ 40640 h 138429"/>
                <a:gd name="connsiteX608" fmla="*/ 3574411 w 4940931"/>
                <a:gd name="connsiteY608" fmla="*/ 53340 h 138429"/>
                <a:gd name="connsiteX609" fmla="*/ 3576316 w 4940931"/>
                <a:gd name="connsiteY609" fmla="*/ 68580 h 138429"/>
                <a:gd name="connsiteX610" fmla="*/ 3575046 w 4940931"/>
                <a:gd name="connsiteY610" fmla="*/ 68580 h 138429"/>
                <a:gd name="connsiteX611" fmla="*/ 3575046 w 4940931"/>
                <a:gd name="connsiteY611" fmla="*/ 72390 h 138429"/>
                <a:gd name="connsiteX612" fmla="*/ 3575046 w 4940931"/>
                <a:gd name="connsiteY612" fmla="*/ 75565 h 138429"/>
                <a:gd name="connsiteX613" fmla="*/ 3523611 w 4940931"/>
                <a:gd name="connsiteY613" fmla="*/ 75565 h 138429"/>
                <a:gd name="connsiteX614" fmla="*/ 3526151 w 4940931"/>
                <a:gd name="connsiteY614" fmla="*/ 85090 h 138429"/>
                <a:gd name="connsiteX615" fmla="*/ 3530596 w 4940931"/>
                <a:gd name="connsiteY615" fmla="*/ 91440 h 138429"/>
                <a:gd name="connsiteX616" fmla="*/ 3536311 w 4940931"/>
                <a:gd name="connsiteY616" fmla="*/ 95250 h 138429"/>
                <a:gd name="connsiteX617" fmla="*/ 3543296 w 4940931"/>
                <a:gd name="connsiteY617" fmla="*/ 96520 h 138429"/>
                <a:gd name="connsiteX618" fmla="*/ 3548376 w 4940931"/>
                <a:gd name="connsiteY618" fmla="*/ 96520 h 138429"/>
                <a:gd name="connsiteX619" fmla="*/ 3552821 w 4940931"/>
                <a:gd name="connsiteY619" fmla="*/ 95250 h 138429"/>
                <a:gd name="connsiteX620" fmla="*/ 3556631 w 4940931"/>
                <a:gd name="connsiteY620" fmla="*/ 93345 h 138429"/>
                <a:gd name="connsiteX621" fmla="*/ 3561076 w 4940931"/>
                <a:gd name="connsiteY621" fmla="*/ 90805 h 138429"/>
                <a:gd name="connsiteX622" fmla="*/ 3569966 w 4940931"/>
                <a:gd name="connsiteY622" fmla="*/ 100330 h 138429"/>
                <a:gd name="connsiteX623" fmla="*/ 3564251 w 4940931"/>
                <a:gd name="connsiteY623" fmla="*/ 104775 h 138429"/>
                <a:gd name="connsiteX624" fmla="*/ 3558536 w 4940931"/>
                <a:gd name="connsiteY624" fmla="*/ 107950 h 138429"/>
                <a:gd name="connsiteX625" fmla="*/ 3551551 w 4940931"/>
                <a:gd name="connsiteY625" fmla="*/ 109855 h 138429"/>
                <a:gd name="connsiteX626" fmla="*/ 3542661 w 4940931"/>
                <a:gd name="connsiteY626" fmla="*/ 110490 h 138429"/>
                <a:gd name="connsiteX627" fmla="*/ 3533136 w 4940931"/>
                <a:gd name="connsiteY627" fmla="*/ 109220 h 138429"/>
                <a:gd name="connsiteX628" fmla="*/ 3525516 w 4940931"/>
                <a:gd name="connsiteY628" fmla="*/ 105410 h 138429"/>
                <a:gd name="connsiteX629" fmla="*/ 3519166 w 4940931"/>
                <a:gd name="connsiteY629" fmla="*/ 100330 h 138429"/>
                <a:gd name="connsiteX630" fmla="*/ 3514086 w 4940931"/>
                <a:gd name="connsiteY630" fmla="*/ 92710 h 138429"/>
                <a:gd name="connsiteX631" fmla="*/ 3510276 w 4940931"/>
                <a:gd name="connsiteY631" fmla="*/ 82550 h 138429"/>
                <a:gd name="connsiteX632" fmla="*/ 3509006 w 4940931"/>
                <a:gd name="connsiteY632" fmla="*/ 69850 h 138429"/>
                <a:gd name="connsiteX633" fmla="*/ 3511546 w 4940931"/>
                <a:gd name="connsiteY633" fmla="*/ 52070 h 138429"/>
                <a:gd name="connsiteX634" fmla="*/ 3518531 w 4940931"/>
                <a:gd name="connsiteY634" fmla="*/ 39370 h 138429"/>
                <a:gd name="connsiteX635" fmla="*/ 3529326 w 4940931"/>
                <a:gd name="connsiteY635" fmla="*/ 31750 h 138429"/>
                <a:gd name="connsiteX636" fmla="*/ 3543296 w 4940931"/>
                <a:gd name="connsiteY636" fmla="*/ 29210 h 138429"/>
                <a:gd name="connsiteX637" fmla="*/ 3345176 w 4940931"/>
                <a:gd name="connsiteY637" fmla="*/ 29210 h 138429"/>
                <a:gd name="connsiteX638" fmla="*/ 3359781 w 4940931"/>
                <a:gd name="connsiteY638" fmla="*/ 32385 h 138429"/>
                <a:gd name="connsiteX639" fmla="*/ 3369941 w 4940931"/>
                <a:gd name="connsiteY639" fmla="*/ 40640 h 138429"/>
                <a:gd name="connsiteX640" fmla="*/ 3376291 w 4940931"/>
                <a:gd name="connsiteY640" fmla="*/ 53340 h 138429"/>
                <a:gd name="connsiteX641" fmla="*/ 3378196 w 4940931"/>
                <a:gd name="connsiteY641" fmla="*/ 68580 h 138429"/>
                <a:gd name="connsiteX642" fmla="*/ 3376926 w 4940931"/>
                <a:gd name="connsiteY642" fmla="*/ 68580 h 138429"/>
                <a:gd name="connsiteX643" fmla="*/ 3376926 w 4940931"/>
                <a:gd name="connsiteY643" fmla="*/ 72390 h 138429"/>
                <a:gd name="connsiteX644" fmla="*/ 3376926 w 4940931"/>
                <a:gd name="connsiteY644" fmla="*/ 75565 h 138429"/>
                <a:gd name="connsiteX645" fmla="*/ 3325491 w 4940931"/>
                <a:gd name="connsiteY645" fmla="*/ 75565 h 138429"/>
                <a:gd name="connsiteX646" fmla="*/ 3328031 w 4940931"/>
                <a:gd name="connsiteY646" fmla="*/ 85090 h 138429"/>
                <a:gd name="connsiteX647" fmla="*/ 3332476 w 4940931"/>
                <a:gd name="connsiteY647" fmla="*/ 91440 h 138429"/>
                <a:gd name="connsiteX648" fmla="*/ 3338191 w 4940931"/>
                <a:gd name="connsiteY648" fmla="*/ 95250 h 138429"/>
                <a:gd name="connsiteX649" fmla="*/ 3345176 w 4940931"/>
                <a:gd name="connsiteY649" fmla="*/ 96520 h 138429"/>
                <a:gd name="connsiteX650" fmla="*/ 3350256 w 4940931"/>
                <a:gd name="connsiteY650" fmla="*/ 96520 h 138429"/>
                <a:gd name="connsiteX651" fmla="*/ 3354701 w 4940931"/>
                <a:gd name="connsiteY651" fmla="*/ 95250 h 138429"/>
                <a:gd name="connsiteX652" fmla="*/ 3358511 w 4940931"/>
                <a:gd name="connsiteY652" fmla="*/ 93345 h 138429"/>
                <a:gd name="connsiteX653" fmla="*/ 3362956 w 4940931"/>
                <a:gd name="connsiteY653" fmla="*/ 90805 h 138429"/>
                <a:gd name="connsiteX654" fmla="*/ 3371846 w 4940931"/>
                <a:gd name="connsiteY654" fmla="*/ 100330 h 138429"/>
                <a:gd name="connsiteX655" fmla="*/ 3366131 w 4940931"/>
                <a:gd name="connsiteY655" fmla="*/ 104775 h 138429"/>
                <a:gd name="connsiteX656" fmla="*/ 3360416 w 4940931"/>
                <a:gd name="connsiteY656" fmla="*/ 107950 h 138429"/>
                <a:gd name="connsiteX657" fmla="*/ 3353431 w 4940931"/>
                <a:gd name="connsiteY657" fmla="*/ 109855 h 138429"/>
                <a:gd name="connsiteX658" fmla="*/ 3344541 w 4940931"/>
                <a:gd name="connsiteY658" fmla="*/ 110490 h 138429"/>
                <a:gd name="connsiteX659" fmla="*/ 3335016 w 4940931"/>
                <a:gd name="connsiteY659" fmla="*/ 109220 h 138429"/>
                <a:gd name="connsiteX660" fmla="*/ 3327396 w 4940931"/>
                <a:gd name="connsiteY660" fmla="*/ 105410 h 138429"/>
                <a:gd name="connsiteX661" fmla="*/ 3321046 w 4940931"/>
                <a:gd name="connsiteY661" fmla="*/ 100330 h 138429"/>
                <a:gd name="connsiteX662" fmla="*/ 3315966 w 4940931"/>
                <a:gd name="connsiteY662" fmla="*/ 92710 h 138429"/>
                <a:gd name="connsiteX663" fmla="*/ 3312156 w 4940931"/>
                <a:gd name="connsiteY663" fmla="*/ 82550 h 138429"/>
                <a:gd name="connsiteX664" fmla="*/ 3310886 w 4940931"/>
                <a:gd name="connsiteY664" fmla="*/ 69850 h 138429"/>
                <a:gd name="connsiteX665" fmla="*/ 3313426 w 4940931"/>
                <a:gd name="connsiteY665" fmla="*/ 52070 h 138429"/>
                <a:gd name="connsiteX666" fmla="*/ 3320411 w 4940931"/>
                <a:gd name="connsiteY666" fmla="*/ 39370 h 138429"/>
                <a:gd name="connsiteX667" fmla="*/ 3331206 w 4940931"/>
                <a:gd name="connsiteY667" fmla="*/ 31750 h 138429"/>
                <a:gd name="connsiteX668" fmla="*/ 3345176 w 4940931"/>
                <a:gd name="connsiteY668" fmla="*/ 29210 h 138429"/>
                <a:gd name="connsiteX669" fmla="*/ 3060696 w 4940931"/>
                <a:gd name="connsiteY669" fmla="*/ 29210 h 138429"/>
                <a:gd name="connsiteX670" fmla="*/ 3068316 w 4940931"/>
                <a:gd name="connsiteY670" fmla="*/ 29845 h 138429"/>
                <a:gd name="connsiteX671" fmla="*/ 3074031 w 4940931"/>
                <a:gd name="connsiteY671" fmla="*/ 32385 h 138429"/>
                <a:gd name="connsiteX672" fmla="*/ 3070221 w 4940931"/>
                <a:gd name="connsiteY672" fmla="*/ 46990 h 138429"/>
                <a:gd name="connsiteX673" fmla="*/ 3068951 w 4940931"/>
                <a:gd name="connsiteY673" fmla="*/ 46990 h 138429"/>
                <a:gd name="connsiteX674" fmla="*/ 3063871 w 4940931"/>
                <a:gd name="connsiteY674" fmla="*/ 45085 h 138429"/>
                <a:gd name="connsiteX675" fmla="*/ 3057521 w 4940931"/>
                <a:gd name="connsiteY675" fmla="*/ 44450 h 138429"/>
                <a:gd name="connsiteX676" fmla="*/ 3046091 w 4940931"/>
                <a:gd name="connsiteY676" fmla="*/ 49530 h 138429"/>
                <a:gd name="connsiteX677" fmla="*/ 3042281 w 4940931"/>
                <a:gd name="connsiteY677" fmla="*/ 64770 h 138429"/>
                <a:gd name="connsiteX678" fmla="*/ 3042281 w 4940931"/>
                <a:gd name="connsiteY678" fmla="*/ 109220 h 138429"/>
                <a:gd name="connsiteX679" fmla="*/ 3027041 w 4940931"/>
                <a:gd name="connsiteY679" fmla="*/ 109220 h 138429"/>
                <a:gd name="connsiteX680" fmla="*/ 3027041 w 4940931"/>
                <a:gd name="connsiteY680" fmla="*/ 31115 h 138429"/>
                <a:gd name="connsiteX681" fmla="*/ 3042281 w 4940931"/>
                <a:gd name="connsiteY681" fmla="*/ 31115 h 138429"/>
                <a:gd name="connsiteX682" fmla="*/ 3042281 w 4940931"/>
                <a:gd name="connsiteY682" fmla="*/ 38735 h 138429"/>
                <a:gd name="connsiteX683" fmla="*/ 3045456 w 4940931"/>
                <a:gd name="connsiteY683" fmla="*/ 34925 h 138429"/>
                <a:gd name="connsiteX684" fmla="*/ 3049901 w 4940931"/>
                <a:gd name="connsiteY684" fmla="*/ 31750 h 138429"/>
                <a:gd name="connsiteX685" fmla="*/ 3054981 w 4940931"/>
                <a:gd name="connsiteY685" fmla="*/ 29845 h 138429"/>
                <a:gd name="connsiteX686" fmla="*/ 3060696 w 4940931"/>
                <a:gd name="connsiteY686" fmla="*/ 29210 h 138429"/>
                <a:gd name="connsiteX687" fmla="*/ 2978781 w 4940931"/>
                <a:gd name="connsiteY687" fmla="*/ 29210 h 138429"/>
                <a:gd name="connsiteX688" fmla="*/ 2993386 w 4940931"/>
                <a:gd name="connsiteY688" fmla="*/ 32385 h 138429"/>
                <a:gd name="connsiteX689" fmla="*/ 3003546 w 4940931"/>
                <a:gd name="connsiteY689" fmla="*/ 40640 h 138429"/>
                <a:gd name="connsiteX690" fmla="*/ 3009896 w 4940931"/>
                <a:gd name="connsiteY690" fmla="*/ 53340 h 138429"/>
                <a:gd name="connsiteX691" fmla="*/ 3011801 w 4940931"/>
                <a:gd name="connsiteY691" fmla="*/ 68580 h 138429"/>
                <a:gd name="connsiteX692" fmla="*/ 3010531 w 4940931"/>
                <a:gd name="connsiteY692" fmla="*/ 68580 h 138429"/>
                <a:gd name="connsiteX693" fmla="*/ 3010531 w 4940931"/>
                <a:gd name="connsiteY693" fmla="*/ 72390 h 138429"/>
                <a:gd name="connsiteX694" fmla="*/ 3010531 w 4940931"/>
                <a:gd name="connsiteY694" fmla="*/ 75565 h 138429"/>
                <a:gd name="connsiteX695" fmla="*/ 2959096 w 4940931"/>
                <a:gd name="connsiteY695" fmla="*/ 75565 h 138429"/>
                <a:gd name="connsiteX696" fmla="*/ 2961636 w 4940931"/>
                <a:gd name="connsiteY696" fmla="*/ 85090 h 138429"/>
                <a:gd name="connsiteX697" fmla="*/ 2966081 w 4940931"/>
                <a:gd name="connsiteY697" fmla="*/ 91440 h 138429"/>
                <a:gd name="connsiteX698" fmla="*/ 2971796 w 4940931"/>
                <a:gd name="connsiteY698" fmla="*/ 95250 h 138429"/>
                <a:gd name="connsiteX699" fmla="*/ 2978781 w 4940931"/>
                <a:gd name="connsiteY699" fmla="*/ 96520 h 138429"/>
                <a:gd name="connsiteX700" fmla="*/ 2983861 w 4940931"/>
                <a:gd name="connsiteY700" fmla="*/ 96520 h 138429"/>
                <a:gd name="connsiteX701" fmla="*/ 2988306 w 4940931"/>
                <a:gd name="connsiteY701" fmla="*/ 95250 h 138429"/>
                <a:gd name="connsiteX702" fmla="*/ 2992116 w 4940931"/>
                <a:gd name="connsiteY702" fmla="*/ 93345 h 138429"/>
                <a:gd name="connsiteX703" fmla="*/ 2996561 w 4940931"/>
                <a:gd name="connsiteY703" fmla="*/ 90805 h 138429"/>
                <a:gd name="connsiteX704" fmla="*/ 3005451 w 4940931"/>
                <a:gd name="connsiteY704" fmla="*/ 100330 h 138429"/>
                <a:gd name="connsiteX705" fmla="*/ 2999736 w 4940931"/>
                <a:gd name="connsiteY705" fmla="*/ 104775 h 138429"/>
                <a:gd name="connsiteX706" fmla="*/ 2994021 w 4940931"/>
                <a:gd name="connsiteY706" fmla="*/ 107950 h 138429"/>
                <a:gd name="connsiteX707" fmla="*/ 2987036 w 4940931"/>
                <a:gd name="connsiteY707" fmla="*/ 109855 h 138429"/>
                <a:gd name="connsiteX708" fmla="*/ 2978146 w 4940931"/>
                <a:gd name="connsiteY708" fmla="*/ 110490 h 138429"/>
                <a:gd name="connsiteX709" fmla="*/ 2968621 w 4940931"/>
                <a:gd name="connsiteY709" fmla="*/ 109220 h 138429"/>
                <a:gd name="connsiteX710" fmla="*/ 2961001 w 4940931"/>
                <a:gd name="connsiteY710" fmla="*/ 105410 h 138429"/>
                <a:gd name="connsiteX711" fmla="*/ 2954651 w 4940931"/>
                <a:gd name="connsiteY711" fmla="*/ 100330 h 138429"/>
                <a:gd name="connsiteX712" fmla="*/ 2949571 w 4940931"/>
                <a:gd name="connsiteY712" fmla="*/ 92710 h 138429"/>
                <a:gd name="connsiteX713" fmla="*/ 2945761 w 4940931"/>
                <a:gd name="connsiteY713" fmla="*/ 82550 h 138429"/>
                <a:gd name="connsiteX714" fmla="*/ 2944491 w 4940931"/>
                <a:gd name="connsiteY714" fmla="*/ 69850 h 138429"/>
                <a:gd name="connsiteX715" fmla="*/ 2947031 w 4940931"/>
                <a:gd name="connsiteY715" fmla="*/ 52070 h 138429"/>
                <a:gd name="connsiteX716" fmla="*/ 2954016 w 4940931"/>
                <a:gd name="connsiteY716" fmla="*/ 39370 h 138429"/>
                <a:gd name="connsiteX717" fmla="*/ 2964811 w 4940931"/>
                <a:gd name="connsiteY717" fmla="*/ 31750 h 138429"/>
                <a:gd name="connsiteX718" fmla="*/ 2978781 w 4940931"/>
                <a:gd name="connsiteY718" fmla="*/ 29210 h 138429"/>
                <a:gd name="connsiteX719" fmla="*/ 2798440 w 4940931"/>
                <a:gd name="connsiteY719" fmla="*/ 29210 h 138429"/>
                <a:gd name="connsiteX720" fmla="*/ 2813045 w 4940931"/>
                <a:gd name="connsiteY720" fmla="*/ 31750 h 138429"/>
                <a:gd name="connsiteX721" fmla="*/ 2825110 w 4940931"/>
                <a:gd name="connsiteY721" fmla="*/ 38100 h 138429"/>
                <a:gd name="connsiteX722" fmla="*/ 2827015 w 4940931"/>
                <a:gd name="connsiteY722" fmla="*/ 38100 h 138429"/>
                <a:gd name="connsiteX723" fmla="*/ 2820030 w 4940931"/>
                <a:gd name="connsiteY723" fmla="*/ 50165 h 138429"/>
                <a:gd name="connsiteX724" fmla="*/ 2810505 w 4940931"/>
                <a:gd name="connsiteY724" fmla="*/ 45085 h 138429"/>
                <a:gd name="connsiteX725" fmla="*/ 2799710 w 4940931"/>
                <a:gd name="connsiteY725" fmla="*/ 43180 h 138429"/>
                <a:gd name="connsiteX726" fmla="*/ 2791455 w 4940931"/>
                <a:gd name="connsiteY726" fmla="*/ 45085 h 138429"/>
                <a:gd name="connsiteX727" fmla="*/ 2788915 w 4940931"/>
                <a:gd name="connsiteY727" fmla="*/ 50165 h 138429"/>
                <a:gd name="connsiteX728" fmla="*/ 2788915 w 4940931"/>
                <a:gd name="connsiteY728" fmla="*/ 52705 h 138429"/>
                <a:gd name="connsiteX729" fmla="*/ 2790820 w 4940931"/>
                <a:gd name="connsiteY729" fmla="*/ 55245 h 138429"/>
                <a:gd name="connsiteX730" fmla="*/ 2795265 w 4940931"/>
                <a:gd name="connsiteY730" fmla="*/ 57785 h 138429"/>
                <a:gd name="connsiteX731" fmla="*/ 2802250 w 4940931"/>
                <a:gd name="connsiteY731" fmla="*/ 60960 h 138429"/>
                <a:gd name="connsiteX732" fmla="*/ 2813680 w 4940931"/>
                <a:gd name="connsiteY732" fmla="*/ 66040 h 138429"/>
                <a:gd name="connsiteX733" fmla="*/ 2821935 w 4940931"/>
                <a:gd name="connsiteY733" fmla="*/ 71120 h 138429"/>
                <a:gd name="connsiteX734" fmla="*/ 2827015 w 4940931"/>
                <a:gd name="connsiteY734" fmla="*/ 78105 h 138429"/>
                <a:gd name="connsiteX735" fmla="*/ 2828920 w 4940931"/>
                <a:gd name="connsiteY735" fmla="*/ 87630 h 138429"/>
                <a:gd name="connsiteX736" fmla="*/ 2826380 w 4940931"/>
                <a:gd name="connsiteY736" fmla="*/ 98425 h 138429"/>
                <a:gd name="connsiteX737" fmla="*/ 2820030 w 4940931"/>
                <a:gd name="connsiteY737" fmla="*/ 105410 h 138429"/>
                <a:gd name="connsiteX738" fmla="*/ 2810505 w 4940931"/>
                <a:gd name="connsiteY738" fmla="*/ 109220 h 138429"/>
                <a:gd name="connsiteX739" fmla="*/ 2799710 w 4940931"/>
                <a:gd name="connsiteY739" fmla="*/ 110490 h 138429"/>
                <a:gd name="connsiteX740" fmla="*/ 2783835 w 4940931"/>
                <a:gd name="connsiteY740" fmla="*/ 107950 h 138429"/>
                <a:gd name="connsiteX741" fmla="*/ 2769230 w 4940931"/>
                <a:gd name="connsiteY741" fmla="*/ 100965 h 138429"/>
                <a:gd name="connsiteX742" fmla="*/ 2776215 w 4940931"/>
                <a:gd name="connsiteY742" fmla="*/ 89535 h 138429"/>
                <a:gd name="connsiteX743" fmla="*/ 2787645 w 4940931"/>
                <a:gd name="connsiteY743" fmla="*/ 95250 h 138429"/>
                <a:gd name="connsiteX744" fmla="*/ 2799075 w 4940931"/>
                <a:gd name="connsiteY744" fmla="*/ 97155 h 138429"/>
                <a:gd name="connsiteX745" fmla="*/ 2809870 w 4940931"/>
                <a:gd name="connsiteY745" fmla="*/ 94615 h 138429"/>
                <a:gd name="connsiteX746" fmla="*/ 2813045 w 4940931"/>
                <a:gd name="connsiteY746" fmla="*/ 88265 h 138429"/>
                <a:gd name="connsiteX747" fmla="*/ 2811775 w 4940931"/>
                <a:gd name="connsiteY747" fmla="*/ 84455 h 138429"/>
                <a:gd name="connsiteX748" fmla="*/ 2807965 w 4940931"/>
                <a:gd name="connsiteY748" fmla="*/ 81280 h 138429"/>
                <a:gd name="connsiteX749" fmla="*/ 2802250 w 4940931"/>
                <a:gd name="connsiteY749" fmla="*/ 78105 h 138429"/>
                <a:gd name="connsiteX750" fmla="*/ 2794630 w 4940931"/>
                <a:gd name="connsiteY750" fmla="*/ 74930 h 138429"/>
                <a:gd name="connsiteX751" fmla="*/ 2783835 w 4940931"/>
                <a:gd name="connsiteY751" fmla="*/ 69850 h 138429"/>
                <a:gd name="connsiteX752" fmla="*/ 2776850 w 4940931"/>
                <a:gd name="connsiteY752" fmla="*/ 64770 h 138429"/>
                <a:gd name="connsiteX753" fmla="*/ 2773040 w 4940931"/>
                <a:gd name="connsiteY753" fmla="*/ 58420 h 138429"/>
                <a:gd name="connsiteX754" fmla="*/ 2771770 w 4940931"/>
                <a:gd name="connsiteY754" fmla="*/ 50165 h 138429"/>
                <a:gd name="connsiteX755" fmla="*/ 2773675 w 4940931"/>
                <a:gd name="connsiteY755" fmla="*/ 40640 h 138429"/>
                <a:gd name="connsiteX756" fmla="*/ 2779390 w 4940931"/>
                <a:gd name="connsiteY756" fmla="*/ 34290 h 138429"/>
                <a:gd name="connsiteX757" fmla="*/ 2787645 w 4940931"/>
                <a:gd name="connsiteY757" fmla="*/ 30480 h 138429"/>
                <a:gd name="connsiteX758" fmla="*/ 2798440 w 4940931"/>
                <a:gd name="connsiteY758" fmla="*/ 29210 h 138429"/>
                <a:gd name="connsiteX759" fmla="*/ 2723510 w 4940931"/>
                <a:gd name="connsiteY759" fmla="*/ 29210 h 138429"/>
                <a:gd name="connsiteX760" fmla="*/ 2729225 w 4940931"/>
                <a:gd name="connsiteY760" fmla="*/ 29210 h 138429"/>
                <a:gd name="connsiteX761" fmla="*/ 2741290 w 4940931"/>
                <a:gd name="connsiteY761" fmla="*/ 31750 h 138429"/>
                <a:gd name="connsiteX762" fmla="*/ 2750180 w 4940931"/>
                <a:gd name="connsiteY762" fmla="*/ 38100 h 138429"/>
                <a:gd name="connsiteX763" fmla="*/ 2755260 w 4940931"/>
                <a:gd name="connsiteY763" fmla="*/ 48895 h 138429"/>
                <a:gd name="connsiteX764" fmla="*/ 2757165 w 4940931"/>
                <a:gd name="connsiteY764" fmla="*/ 64135 h 138429"/>
                <a:gd name="connsiteX765" fmla="*/ 2757165 w 4940931"/>
                <a:gd name="connsiteY765" fmla="*/ 108585 h 138429"/>
                <a:gd name="connsiteX766" fmla="*/ 2741925 w 4940931"/>
                <a:gd name="connsiteY766" fmla="*/ 108585 h 138429"/>
                <a:gd name="connsiteX767" fmla="*/ 2741290 w 4940931"/>
                <a:gd name="connsiteY767" fmla="*/ 108585 h 138429"/>
                <a:gd name="connsiteX768" fmla="*/ 2741290 w 4940931"/>
                <a:gd name="connsiteY768" fmla="*/ 64770 h 138429"/>
                <a:gd name="connsiteX769" fmla="*/ 2737480 w 4940931"/>
                <a:gd name="connsiteY769" fmla="*/ 48895 h 138429"/>
                <a:gd name="connsiteX770" fmla="*/ 2725415 w 4940931"/>
                <a:gd name="connsiteY770" fmla="*/ 43180 h 138429"/>
                <a:gd name="connsiteX771" fmla="*/ 2718430 w 4940931"/>
                <a:gd name="connsiteY771" fmla="*/ 44450 h 138429"/>
                <a:gd name="connsiteX772" fmla="*/ 2713350 w 4940931"/>
                <a:gd name="connsiteY772" fmla="*/ 48260 h 138429"/>
                <a:gd name="connsiteX773" fmla="*/ 2710175 w 4940931"/>
                <a:gd name="connsiteY773" fmla="*/ 54610 h 138429"/>
                <a:gd name="connsiteX774" fmla="*/ 2709540 w 4940931"/>
                <a:gd name="connsiteY774" fmla="*/ 62865 h 138429"/>
                <a:gd name="connsiteX775" fmla="*/ 2709540 w 4940931"/>
                <a:gd name="connsiteY775" fmla="*/ 108585 h 138429"/>
                <a:gd name="connsiteX776" fmla="*/ 2694300 w 4940931"/>
                <a:gd name="connsiteY776" fmla="*/ 108585 h 138429"/>
                <a:gd name="connsiteX777" fmla="*/ 2694300 w 4940931"/>
                <a:gd name="connsiteY777" fmla="*/ 30480 h 138429"/>
                <a:gd name="connsiteX778" fmla="*/ 2709540 w 4940931"/>
                <a:gd name="connsiteY778" fmla="*/ 30480 h 138429"/>
                <a:gd name="connsiteX779" fmla="*/ 2709540 w 4940931"/>
                <a:gd name="connsiteY779" fmla="*/ 38100 h 138429"/>
                <a:gd name="connsiteX780" fmla="*/ 2713350 w 4940931"/>
                <a:gd name="connsiteY780" fmla="*/ 34290 h 138429"/>
                <a:gd name="connsiteX781" fmla="*/ 2717795 w 4940931"/>
                <a:gd name="connsiteY781" fmla="*/ 31115 h 138429"/>
                <a:gd name="connsiteX782" fmla="*/ 2723510 w 4940931"/>
                <a:gd name="connsiteY782" fmla="*/ 29210 h 138429"/>
                <a:gd name="connsiteX783" fmla="*/ 2530470 w 4940931"/>
                <a:gd name="connsiteY783" fmla="*/ 29210 h 138429"/>
                <a:gd name="connsiteX784" fmla="*/ 2545075 w 4940931"/>
                <a:gd name="connsiteY784" fmla="*/ 32385 h 138429"/>
                <a:gd name="connsiteX785" fmla="*/ 2555235 w 4940931"/>
                <a:gd name="connsiteY785" fmla="*/ 40640 h 138429"/>
                <a:gd name="connsiteX786" fmla="*/ 2561585 w 4940931"/>
                <a:gd name="connsiteY786" fmla="*/ 53340 h 138429"/>
                <a:gd name="connsiteX787" fmla="*/ 2563490 w 4940931"/>
                <a:gd name="connsiteY787" fmla="*/ 68580 h 138429"/>
                <a:gd name="connsiteX788" fmla="*/ 2562220 w 4940931"/>
                <a:gd name="connsiteY788" fmla="*/ 68580 h 138429"/>
                <a:gd name="connsiteX789" fmla="*/ 2562220 w 4940931"/>
                <a:gd name="connsiteY789" fmla="*/ 72390 h 138429"/>
                <a:gd name="connsiteX790" fmla="*/ 2562220 w 4940931"/>
                <a:gd name="connsiteY790" fmla="*/ 75565 h 138429"/>
                <a:gd name="connsiteX791" fmla="*/ 2510785 w 4940931"/>
                <a:gd name="connsiteY791" fmla="*/ 75565 h 138429"/>
                <a:gd name="connsiteX792" fmla="*/ 2513325 w 4940931"/>
                <a:gd name="connsiteY792" fmla="*/ 85090 h 138429"/>
                <a:gd name="connsiteX793" fmla="*/ 2517770 w 4940931"/>
                <a:gd name="connsiteY793" fmla="*/ 91440 h 138429"/>
                <a:gd name="connsiteX794" fmla="*/ 2523485 w 4940931"/>
                <a:gd name="connsiteY794" fmla="*/ 95250 h 138429"/>
                <a:gd name="connsiteX795" fmla="*/ 2530470 w 4940931"/>
                <a:gd name="connsiteY795" fmla="*/ 96520 h 138429"/>
                <a:gd name="connsiteX796" fmla="*/ 2535550 w 4940931"/>
                <a:gd name="connsiteY796" fmla="*/ 96520 h 138429"/>
                <a:gd name="connsiteX797" fmla="*/ 2539995 w 4940931"/>
                <a:gd name="connsiteY797" fmla="*/ 95250 h 138429"/>
                <a:gd name="connsiteX798" fmla="*/ 2543805 w 4940931"/>
                <a:gd name="connsiteY798" fmla="*/ 93345 h 138429"/>
                <a:gd name="connsiteX799" fmla="*/ 2548250 w 4940931"/>
                <a:gd name="connsiteY799" fmla="*/ 90805 h 138429"/>
                <a:gd name="connsiteX800" fmla="*/ 2557140 w 4940931"/>
                <a:gd name="connsiteY800" fmla="*/ 100330 h 138429"/>
                <a:gd name="connsiteX801" fmla="*/ 2551425 w 4940931"/>
                <a:gd name="connsiteY801" fmla="*/ 104775 h 138429"/>
                <a:gd name="connsiteX802" fmla="*/ 2545710 w 4940931"/>
                <a:gd name="connsiteY802" fmla="*/ 107950 h 138429"/>
                <a:gd name="connsiteX803" fmla="*/ 2538725 w 4940931"/>
                <a:gd name="connsiteY803" fmla="*/ 109855 h 138429"/>
                <a:gd name="connsiteX804" fmla="*/ 2529835 w 4940931"/>
                <a:gd name="connsiteY804" fmla="*/ 110490 h 138429"/>
                <a:gd name="connsiteX805" fmla="*/ 2520310 w 4940931"/>
                <a:gd name="connsiteY805" fmla="*/ 109220 h 138429"/>
                <a:gd name="connsiteX806" fmla="*/ 2512690 w 4940931"/>
                <a:gd name="connsiteY806" fmla="*/ 105410 h 138429"/>
                <a:gd name="connsiteX807" fmla="*/ 2506340 w 4940931"/>
                <a:gd name="connsiteY807" fmla="*/ 100330 h 138429"/>
                <a:gd name="connsiteX808" fmla="*/ 2501260 w 4940931"/>
                <a:gd name="connsiteY808" fmla="*/ 92710 h 138429"/>
                <a:gd name="connsiteX809" fmla="*/ 2497450 w 4940931"/>
                <a:gd name="connsiteY809" fmla="*/ 82550 h 138429"/>
                <a:gd name="connsiteX810" fmla="*/ 2496180 w 4940931"/>
                <a:gd name="connsiteY810" fmla="*/ 69850 h 138429"/>
                <a:gd name="connsiteX811" fmla="*/ 2498720 w 4940931"/>
                <a:gd name="connsiteY811" fmla="*/ 52070 h 138429"/>
                <a:gd name="connsiteX812" fmla="*/ 2505705 w 4940931"/>
                <a:gd name="connsiteY812" fmla="*/ 39370 h 138429"/>
                <a:gd name="connsiteX813" fmla="*/ 2516500 w 4940931"/>
                <a:gd name="connsiteY813" fmla="*/ 31750 h 138429"/>
                <a:gd name="connsiteX814" fmla="*/ 2530470 w 4940931"/>
                <a:gd name="connsiteY814" fmla="*/ 29210 h 138429"/>
                <a:gd name="connsiteX815" fmla="*/ 2298061 w 4940931"/>
                <a:gd name="connsiteY815" fmla="*/ 29210 h 138429"/>
                <a:gd name="connsiteX816" fmla="*/ 2305681 w 4940931"/>
                <a:gd name="connsiteY816" fmla="*/ 29845 h 138429"/>
                <a:gd name="connsiteX817" fmla="*/ 2311396 w 4940931"/>
                <a:gd name="connsiteY817" fmla="*/ 32385 h 138429"/>
                <a:gd name="connsiteX818" fmla="*/ 2307586 w 4940931"/>
                <a:gd name="connsiteY818" fmla="*/ 46990 h 138429"/>
                <a:gd name="connsiteX819" fmla="*/ 2306316 w 4940931"/>
                <a:gd name="connsiteY819" fmla="*/ 46990 h 138429"/>
                <a:gd name="connsiteX820" fmla="*/ 2301236 w 4940931"/>
                <a:gd name="connsiteY820" fmla="*/ 45085 h 138429"/>
                <a:gd name="connsiteX821" fmla="*/ 2294886 w 4940931"/>
                <a:gd name="connsiteY821" fmla="*/ 44450 h 138429"/>
                <a:gd name="connsiteX822" fmla="*/ 2283456 w 4940931"/>
                <a:gd name="connsiteY822" fmla="*/ 49530 h 138429"/>
                <a:gd name="connsiteX823" fmla="*/ 2279646 w 4940931"/>
                <a:gd name="connsiteY823" fmla="*/ 64770 h 138429"/>
                <a:gd name="connsiteX824" fmla="*/ 2279646 w 4940931"/>
                <a:gd name="connsiteY824" fmla="*/ 109220 h 138429"/>
                <a:gd name="connsiteX825" fmla="*/ 2264406 w 4940931"/>
                <a:gd name="connsiteY825" fmla="*/ 109220 h 138429"/>
                <a:gd name="connsiteX826" fmla="*/ 2264406 w 4940931"/>
                <a:gd name="connsiteY826" fmla="*/ 31115 h 138429"/>
                <a:gd name="connsiteX827" fmla="*/ 2279646 w 4940931"/>
                <a:gd name="connsiteY827" fmla="*/ 31115 h 138429"/>
                <a:gd name="connsiteX828" fmla="*/ 2279646 w 4940931"/>
                <a:gd name="connsiteY828" fmla="*/ 38735 h 138429"/>
                <a:gd name="connsiteX829" fmla="*/ 2282821 w 4940931"/>
                <a:gd name="connsiteY829" fmla="*/ 34925 h 138429"/>
                <a:gd name="connsiteX830" fmla="*/ 2287266 w 4940931"/>
                <a:gd name="connsiteY830" fmla="*/ 31750 h 138429"/>
                <a:gd name="connsiteX831" fmla="*/ 2292346 w 4940931"/>
                <a:gd name="connsiteY831" fmla="*/ 29845 h 138429"/>
                <a:gd name="connsiteX832" fmla="*/ 2298061 w 4940931"/>
                <a:gd name="connsiteY832" fmla="*/ 29210 h 138429"/>
                <a:gd name="connsiteX833" fmla="*/ 2216145 w 4940931"/>
                <a:gd name="connsiteY833" fmla="*/ 29210 h 138429"/>
                <a:gd name="connsiteX834" fmla="*/ 2230750 w 4940931"/>
                <a:gd name="connsiteY834" fmla="*/ 32385 h 138429"/>
                <a:gd name="connsiteX835" fmla="*/ 2240910 w 4940931"/>
                <a:gd name="connsiteY835" fmla="*/ 40640 h 138429"/>
                <a:gd name="connsiteX836" fmla="*/ 2247260 w 4940931"/>
                <a:gd name="connsiteY836" fmla="*/ 53340 h 138429"/>
                <a:gd name="connsiteX837" fmla="*/ 2249165 w 4940931"/>
                <a:gd name="connsiteY837" fmla="*/ 68580 h 138429"/>
                <a:gd name="connsiteX838" fmla="*/ 2247895 w 4940931"/>
                <a:gd name="connsiteY838" fmla="*/ 68580 h 138429"/>
                <a:gd name="connsiteX839" fmla="*/ 2247895 w 4940931"/>
                <a:gd name="connsiteY839" fmla="*/ 72390 h 138429"/>
                <a:gd name="connsiteX840" fmla="*/ 2247895 w 4940931"/>
                <a:gd name="connsiteY840" fmla="*/ 75565 h 138429"/>
                <a:gd name="connsiteX841" fmla="*/ 2196460 w 4940931"/>
                <a:gd name="connsiteY841" fmla="*/ 75565 h 138429"/>
                <a:gd name="connsiteX842" fmla="*/ 2199000 w 4940931"/>
                <a:gd name="connsiteY842" fmla="*/ 85090 h 138429"/>
                <a:gd name="connsiteX843" fmla="*/ 2203445 w 4940931"/>
                <a:gd name="connsiteY843" fmla="*/ 91440 h 138429"/>
                <a:gd name="connsiteX844" fmla="*/ 2209160 w 4940931"/>
                <a:gd name="connsiteY844" fmla="*/ 95250 h 138429"/>
                <a:gd name="connsiteX845" fmla="*/ 2216145 w 4940931"/>
                <a:gd name="connsiteY845" fmla="*/ 96520 h 138429"/>
                <a:gd name="connsiteX846" fmla="*/ 2221225 w 4940931"/>
                <a:gd name="connsiteY846" fmla="*/ 96520 h 138429"/>
                <a:gd name="connsiteX847" fmla="*/ 2225670 w 4940931"/>
                <a:gd name="connsiteY847" fmla="*/ 95250 h 138429"/>
                <a:gd name="connsiteX848" fmla="*/ 2229480 w 4940931"/>
                <a:gd name="connsiteY848" fmla="*/ 93345 h 138429"/>
                <a:gd name="connsiteX849" fmla="*/ 2233925 w 4940931"/>
                <a:gd name="connsiteY849" fmla="*/ 90805 h 138429"/>
                <a:gd name="connsiteX850" fmla="*/ 2242815 w 4940931"/>
                <a:gd name="connsiteY850" fmla="*/ 100330 h 138429"/>
                <a:gd name="connsiteX851" fmla="*/ 2237100 w 4940931"/>
                <a:gd name="connsiteY851" fmla="*/ 104775 h 138429"/>
                <a:gd name="connsiteX852" fmla="*/ 2231385 w 4940931"/>
                <a:gd name="connsiteY852" fmla="*/ 107950 h 138429"/>
                <a:gd name="connsiteX853" fmla="*/ 2224400 w 4940931"/>
                <a:gd name="connsiteY853" fmla="*/ 109855 h 138429"/>
                <a:gd name="connsiteX854" fmla="*/ 2215510 w 4940931"/>
                <a:gd name="connsiteY854" fmla="*/ 110490 h 138429"/>
                <a:gd name="connsiteX855" fmla="*/ 2205985 w 4940931"/>
                <a:gd name="connsiteY855" fmla="*/ 109220 h 138429"/>
                <a:gd name="connsiteX856" fmla="*/ 2198365 w 4940931"/>
                <a:gd name="connsiteY856" fmla="*/ 105410 h 138429"/>
                <a:gd name="connsiteX857" fmla="*/ 2192015 w 4940931"/>
                <a:gd name="connsiteY857" fmla="*/ 100330 h 138429"/>
                <a:gd name="connsiteX858" fmla="*/ 2186935 w 4940931"/>
                <a:gd name="connsiteY858" fmla="*/ 92710 h 138429"/>
                <a:gd name="connsiteX859" fmla="*/ 2183125 w 4940931"/>
                <a:gd name="connsiteY859" fmla="*/ 82550 h 138429"/>
                <a:gd name="connsiteX860" fmla="*/ 2181855 w 4940931"/>
                <a:gd name="connsiteY860" fmla="*/ 69850 h 138429"/>
                <a:gd name="connsiteX861" fmla="*/ 2184395 w 4940931"/>
                <a:gd name="connsiteY861" fmla="*/ 52070 h 138429"/>
                <a:gd name="connsiteX862" fmla="*/ 2191380 w 4940931"/>
                <a:gd name="connsiteY862" fmla="*/ 39370 h 138429"/>
                <a:gd name="connsiteX863" fmla="*/ 2202175 w 4940931"/>
                <a:gd name="connsiteY863" fmla="*/ 31750 h 138429"/>
                <a:gd name="connsiteX864" fmla="*/ 2216145 w 4940931"/>
                <a:gd name="connsiteY864" fmla="*/ 29210 h 138429"/>
                <a:gd name="connsiteX865" fmla="*/ 2029456 w 4940931"/>
                <a:gd name="connsiteY865" fmla="*/ 29210 h 138429"/>
                <a:gd name="connsiteX866" fmla="*/ 2044061 w 4940931"/>
                <a:gd name="connsiteY866" fmla="*/ 32385 h 138429"/>
                <a:gd name="connsiteX867" fmla="*/ 2054221 w 4940931"/>
                <a:gd name="connsiteY867" fmla="*/ 40640 h 138429"/>
                <a:gd name="connsiteX868" fmla="*/ 2060571 w 4940931"/>
                <a:gd name="connsiteY868" fmla="*/ 53340 h 138429"/>
                <a:gd name="connsiteX869" fmla="*/ 2062476 w 4940931"/>
                <a:gd name="connsiteY869" fmla="*/ 68580 h 138429"/>
                <a:gd name="connsiteX870" fmla="*/ 2061206 w 4940931"/>
                <a:gd name="connsiteY870" fmla="*/ 68580 h 138429"/>
                <a:gd name="connsiteX871" fmla="*/ 2061206 w 4940931"/>
                <a:gd name="connsiteY871" fmla="*/ 72390 h 138429"/>
                <a:gd name="connsiteX872" fmla="*/ 2061206 w 4940931"/>
                <a:gd name="connsiteY872" fmla="*/ 75565 h 138429"/>
                <a:gd name="connsiteX873" fmla="*/ 2009771 w 4940931"/>
                <a:gd name="connsiteY873" fmla="*/ 75565 h 138429"/>
                <a:gd name="connsiteX874" fmla="*/ 2012311 w 4940931"/>
                <a:gd name="connsiteY874" fmla="*/ 85090 h 138429"/>
                <a:gd name="connsiteX875" fmla="*/ 2016756 w 4940931"/>
                <a:gd name="connsiteY875" fmla="*/ 91440 h 138429"/>
                <a:gd name="connsiteX876" fmla="*/ 2022471 w 4940931"/>
                <a:gd name="connsiteY876" fmla="*/ 95250 h 138429"/>
                <a:gd name="connsiteX877" fmla="*/ 2029456 w 4940931"/>
                <a:gd name="connsiteY877" fmla="*/ 96520 h 138429"/>
                <a:gd name="connsiteX878" fmla="*/ 2034536 w 4940931"/>
                <a:gd name="connsiteY878" fmla="*/ 96520 h 138429"/>
                <a:gd name="connsiteX879" fmla="*/ 2038981 w 4940931"/>
                <a:gd name="connsiteY879" fmla="*/ 95250 h 138429"/>
                <a:gd name="connsiteX880" fmla="*/ 2042791 w 4940931"/>
                <a:gd name="connsiteY880" fmla="*/ 93345 h 138429"/>
                <a:gd name="connsiteX881" fmla="*/ 2047236 w 4940931"/>
                <a:gd name="connsiteY881" fmla="*/ 90805 h 138429"/>
                <a:gd name="connsiteX882" fmla="*/ 2056126 w 4940931"/>
                <a:gd name="connsiteY882" fmla="*/ 100330 h 138429"/>
                <a:gd name="connsiteX883" fmla="*/ 2050411 w 4940931"/>
                <a:gd name="connsiteY883" fmla="*/ 104775 h 138429"/>
                <a:gd name="connsiteX884" fmla="*/ 2044696 w 4940931"/>
                <a:gd name="connsiteY884" fmla="*/ 107950 h 138429"/>
                <a:gd name="connsiteX885" fmla="*/ 2037711 w 4940931"/>
                <a:gd name="connsiteY885" fmla="*/ 109855 h 138429"/>
                <a:gd name="connsiteX886" fmla="*/ 2028821 w 4940931"/>
                <a:gd name="connsiteY886" fmla="*/ 110490 h 138429"/>
                <a:gd name="connsiteX887" fmla="*/ 2019296 w 4940931"/>
                <a:gd name="connsiteY887" fmla="*/ 109220 h 138429"/>
                <a:gd name="connsiteX888" fmla="*/ 2011676 w 4940931"/>
                <a:gd name="connsiteY888" fmla="*/ 105410 h 138429"/>
                <a:gd name="connsiteX889" fmla="*/ 2005326 w 4940931"/>
                <a:gd name="connsiteY889" fmla="*/ 100330 h 138429"/>
                <a:gd name="connsiteX890" fmla="*/ 2000246 w 4940931"/>
                <a:gd name="connsiteY890" fmla="*/ 92710 h 138429"/>
                <a:gd name="connsiteX891" fmla="*/ 1996436 w 4940931"/>
                <a:gd name="connsiteY891" fmla="*/ 82550 h 138429"/>
                <a:gd name="connsiteX892" fmla="*/ 1995166 w 4940931"/>
                <a:gd name="connsiteY892" fmla="*/ 69850 h 138429"/>
                <a:gd name="connsiteX893" fmla="*/ 1997706 w 4940931"/>
                <a:gd name="connsiteY893" fmla="*/ 52070 h 138429"/>
                <a:gd name="connsiteX894" fmla="*/ 2004691 w 4940931"/>
                <a:gd name="connsiteY894" fmla="*/ 39370 h 138429"/>
                <a:gd name="connsiteX895" fmla="*/ 2015486 w 4940931"/>
                <a:gd name="connsiteY895" fmla="*/ 31750 h 138429"/>
                <a:gd name="connsiteX896" fmla="*/ 2029456 w 4940931"/>
                <a:gd name="connsiteY896" fmla="*/ 29210 h 138429"/>
                <a:gd name="connsiteX897" fmla="*/ 1831336 w 4940931"/>
                <a:gd name="connsiteY897" fmla="*/ 29210 h 138429"/>
                <a:gd name="connsiteX898" fmla="*/ 1845941 w 4940931"/>
                <a:gd name="connsiteY898" fmla="*/ 32385 h 138429"/>
                <a:gd name="connsiteX899" fmla="*/ 1856101 w 4940931"/>
                <a:gd name="connsiteY899" fmla="*/ 40640 h 138429"/>
                <a:gd name="connsiteX900" fmla="*/ 1862451 w 4940931"/>
                <a:gd name="connsiteY900" fmla="*/ 53340 h 138429"/>
                <a:gd name="connsiteX901" fmla="*/ 1864356 w 4940931"/>
                <a:gd name="connsiteY901" fmla="*/ 68580 h 138429"/>
                <a:gd name="connsiteX902" fmla="*/ 1863086 w 4940931"/>
                <a:gd name="connsiteY902" fmla="*/ 68580 h 138429"/>
                <a:gd name="connsiteX903" fmla="*/ 1863086 w 4940931"/>
                <a:gd name="connsiteY903" fmla="*/ 72390 h 138429"/>
                <a:gd name="connsiteX904" fmla="*/ 1863086 w 4940931"/>
                <a:gd name="connsiteY904" fmla="*/ 75565 h 138429"/>
                <a:gd name="connsiteX905" fmla="*/ 1811651 w 4940931"/>
                <a:gd name="connsiteY905" fmla="*/ 75565 h 138429"/>
                <a:gd name="connsiteX906" fmla="*/ 1814191 w 4940931"/>
                <a:gd name="connsiteY906" fmla="*/ 85090 h 138429"/>
                <a:gd name="connsiteX907" fmla="*/ 1818636 w 4940931"/>
                <a:gd name="connsiteY907" fmla="*/ 91440 h 138429"/>
                <a:gd name="connsiteX908" fmla="*/ 1824351 w 4940931"/>
                <a:gd name="connsiteY908" fmla="*/ 95250 h 138429"/>
                <a:gd name="connsiteX909" fmla="*/ 1831336 w 4940931"/>
                <a:gd name="connsiteY909" fmla="*/ 96520 h 138429"/>
                <a:gd name="connsiteX910" fmla="*/ 1836416 w 4940931"/>
                <a:gd name="connsiteY910" fmla="*/ 96520 h 138429"/>
                <a:gd name="connsiteX911" fmla="*/ 1840861 w 4940931"/>
                <a:gd name="connsiteY911" fmla="*/ 95250 h 138429"/>
                <a:gd name="connsiteX912" fmla="*/ 1844671 w 4940931"/>
                <a:gd name="connsiteY912" fmla="*/ 93345 h 138429"/>
                <a:gd name="connsiteX913" fmla="*/ 1849116 w 4940931"/>
                <a:gd name="connsiteY913" fmla="*/ 90805 h 138429"/>
                <a:gd name="connsiteX914" fmla="*/ 1858006 w 4940931"/>
                <a:gd name="connsiteY914" fmla="*/ 100330 h 138429"/>
                <a:gd name="connsiteX915" fmla="*/ 1852291 w 4940931"/>
                <a:gd name="connsiteY915" fmla="*/ 104775 h 138429"/>
                <a:gd name="connsiteX916" fmla="*/ 1846576 w 4940931"/>
                <a:gd name="connsiteY916" fmla="*/ 107950 h 138429"/>
                <a:gd name="connsiteX917" fmla="*/ 1839591 w 4940931"/>
                <a:gd name="connsiteY917" fmla="*/ 109855 h 138429"/>
                <a:gd name="connsiteX918" fmla="*/ 1830701 w 4940931"/>
                <a:gd name="connsiteY918" fmla="*/ 110490 h 138429"/>
                <a:gd name="connsiteX919" fmla="*/ 1821176 w 4940931"/>
                <a:gd name="connsiteY919" fmla="*/ 109220 h 138429"/>
                <a:gd name="connsiteX920" fmla="*/ 1813556 w 4940931"/>
                <a:gd name="connsiteY920" fmla="*/ 105410 h 138429"/>
                <a:gd name="connsiteX921" fmla="*/ 1807206 w 4940931"/>
                <a:gd name="connsiteY921" fmla="*/ 100330 h 138429"/>
                <a:gd name="connsiteX922" fmla="*/ 1802126 w 4940931"/>
                <a:gd name="connsiteY922" fmla="*/ 92710 h 138429"/>
                <a:gd name="connsiteX923" fmla="*/ 1798316 w 4940931"/>
                <a:gd name="connsiteY923" fmla="*/ 82550 h 138429"/>
                <a:gd name="connsiteX924" fmla="*/ 1797046 w 4940931"/>
                <a:gd name="connsiteY924" fmla="*/ 69850 h 138429"/>
                <a:gd name="connsiteX925" fmla="*/ 1799586 w 4940931"/>
                <a:gd name="connsiteY925" fmla="*/ 52070 h 138429"/>
                <a:gd name="connsiteX926" fmla="*/ 1806571 w 4940931"/>
                <a:gd name="connsiteY926" fmla="*/ 39370 h 138429"/>
                <a:gd name="connsiteX927" fmla="*/ 1817366 w 4940931"/>
                <a:gd name="connsiteY927" fmla="*/ 31750 h 138429"/>
                <a:gd name="connsiteX928" fmla="*/ 1831336 w 4940931"/>
                <a:gd name="connsiteY928" fmla="*/ 29210 h 138429"/>
                <a:gd name="connsiteX929" fmla="*/ 1501140 w 4940931"/>
                <a:gd name="connsiteY929" fmla="*/ 29210 h 138429"/>
                <a:gd name="connsiteX930" fmla="*/ 1506856 w 4940931"/>
                <a:gd name="connsiteY930" fmla="*/ 29210 h 138429"/>
                <a:gd name="connsiteX931" fmla="*/ 1518920 w 4940931"/>
                <a:gd name="connsiteY931" fmla="*/ 31750 h 138429"/>
                <a:gd name="connsiteX932" fmla="*/ 1527811 w 4940931"/>
                <a:gd name="connsiteY932" fmla="*/ 38100 h 138429"/>
                <a:gd name="connsiteX933" fmla="*/ 1532891 w 4940931"/>
                <a:gd name="connsiteY933" fmla="*/ 48895 h 138429"/>
                <a:gd name="connsiteX934" fmla="*/ 1534796 w 4940931"/>
                <a:gd name="connsiteY934" fmla="*/ 64135 h 138429"/>
                <a:gd name="connsiteX935" fmla="*/ 1534796 w 4940931"/>
                <a:gd name="connsiteY935" fmla="*/ 108585 h 138429"/>
                <a:gd name="connsiteX936" fmla="*/ 1519556 w 4940931"/>
                <a:gd name="connsiteY936" fmla="*/ 108585 h 138429"/>
                <a:gd name="connsiteX937" fmla="*/ 1518920 w 4940931"/>
                <a:gd name="connsiteY937" fmla="*/ 108585 h 138429"/>
                <a:gd name="connsiteX938" fmla="*/ 1518920 w 4940931"/>
                <a:gd name="connsiteY938" fmla="*/ 64770 h 138429"/>
                <a:gd name="connsiteX939" fmla="*/ 1515111 w 4940931"/>
                <a:gd name="connsiteY939" fmla="*/ 48895 h 138429"/>
                <a:gd name="connsiteX940" fmla="*/ 1503046 w 4940931"/>
                <a:gd name="connsiteY940" fmla="*/ 43180 h 138429"/>
                <a:gd name="connsiteX941" fmla="*/ 1496061 w 4940931"/>
                <a:gd name="connsiteY941" fmla="*/ 44450 h 138429"/>
                <a:gd name="connsiteX942" fmla="*/ 1490981 w 4940931"/>
                <a:gd name="connsiteY942" fmla="*/ 48260 h 138429"/>
                <a:gd name="connsiteX943" fmla="*/ 1487806 w 4940931"/>
                <a:gd name="connsiteY943" fmla="*/ 54610 h 138429"/>
                <a:gd name="connsiteX944" fmla="*/ 1487170 w 4940931"/>
                <a:gd name="connsiteY944" fmla="*/ 62865 h 138429"/>
                <a:gd name="connsiteX945" fmla="*/ 1487170 w 4940931"/>
                <a:gd name="connsiteY945" fmla="*/ 108585 h 138429"/>
                <a:gd name="connsiteX946" fmla="*/ 1471931 w 4940931"/>
                <a:gd name="connsiteY946" fmla="*/ 108585 h 138429"/>
                <a:gd name="connsiteX947" fmla="*/ 1471931 w 4940931"/>
                <a:gd name="connsiteY947" fmla="*/ 30480 h 138429"/>
                <a:gd name="connsiteX948" fmla="*/ 1487170 w 4940931"/>
                <a:gd name="connsiteY948" fmla="*/ 30480 h 138429"/>
                <a:gd name="connsiteX949" fmla="*/ 1487170 w 4940931"/>
                <a:gd name="connsiteY949" fmla="*/ 38100 h 138429"/>
                <a:gd name="connsiteX950" fmla="*/ 1490981 w 4940931"/>
                <a:gd name="connsiteY950" fmla="*/ 34290 h 138429"/>
                <a:gd name="connsiteX951" fmla="*/ 1495426 w 4940931"/>
                <a:gd name="connsiteY951" fmla="*/ 31115 h 138429"/>
                <a:gd name="connsiteX952" fmla="*/ 1501140 w 4940931"/>
                <a:gd name="connsiteY952" fmla="*/ 29210 h 138429"/>
                <a:gd name="connsiteX953" fmla="*/ 1250316 w 4940931"/>
                <a:gd name="connsiteY953" fmla="*/ 29210 h 138429"/>
                <a:gd name="connsiteX954" fmla="*/ 1264286 w 4940931"/>
                <a:gd name="connsiteY954" fmla="*/ 31750 h 138429"/>
                <a:gd name="connsiteX955" fmla="*/ 1276350 w 4940931"/>
                <a:gd name="connsiteY955" fmla="*/ 38100 h 138429"/>
                <a:gd name="connsiteX956" fmla="*/ 1278256 w 4940931"/>
                <a:gd name="connsiteY956" fmla="*/ 38100 h 138429"/>
                <a:gd name="connsiteX957" fmla="*/ 1271271 w 4940931"/>
                <a:gd name="connsiteY957" fmla="*/ 50165 h 138429"/>
                <a:gd name="connsiteX958" fmla="*/ 1261746 w 4940931"/>
                <a:gd name="connsiteY958" fmla="*/ 45085 h 138429"/>
                <a:gd name="connsiteX959" fmla="*/ 1250951 w 4940931"/>
                <a:gd name="connsiteY959" fmla="*/ 43180 h 138429"/>
                <a:gd name="connsiteX960" fmla="*/ 1242696 w 4940931"/>
                <a:gd name="connsiteY960" fmla="*/ 45085 h 138429"/>
                <a:gd name="connsiteX961" fmla="*/ 1240156 w 4940931"/>
                <a:gd name="connsiteY961" fmla="*/ 50165 h 138429"/>
                <a:gd name="connsiteX962" fmla="*/ 1240156 w 4940931"/>
                <a:gd name="connsiteY962" fmla="*/ 52705 h 138429"/>
                <a:gd name="connsiteX963" fmla="*/ 1242061 w 4940931"/>
                <a:gd name="connsiteY963" fmla="*/ 55245 h 138429"/>
                <a:gd name="connsiteX964" fmla="*/ 1246506 w 4940931"/>
                <a:gd name="connsiteY964" fmla="*/ 57785 h 138429"/>
                <a:gd name="connsiteX965" fmla="*/ 1253491 w 4940931"/>
                <a:gd name="connsiteY965" fmla="*/ 60960 h 138429"/>
                <a:gd name="connsiteX966" fmla="*/ 1264921 w 4940931"/>
                <a:gd name="connsiteY966" fmla="*/ 66040 h 138429"/>
                <a:gd name="connsiteX967" fmla="*/ 1273176 w 4940931"/>
                <a:gd name="connsiteY967" fmla="*/ 71120 h 138429"/>
                <a:gd name="connsiteX968" fmla="*/ 1278256 w 4940931"/>
                <a:gd name="connsiteY968" fmla="*/ 78105 h 138429"/>
                <a:gd name="connsiteX969" fmla="*/ 1280161 w 4940931"/>
                <a:gd name="connsiteY969" fmla="*/ 87630 h 138429"/>
                <a:gd name="connsiteX970" fmla="*/ 1277621 w 4940931"/>
                <a:gd name="connsiteY970" fmla="*/ 98425 h 138429"/>
                <a:gd name="connsiteX971" fmla="*/ 1271271 w 4940931"/>
                <a:gd name="connsiteY971" fmla="*/ 105410 h 138429"/>
                <a:gd name="connsiteX972" fmla="*/ 1261746 w 4940931"/>
                <a:gd name="connsiteY972" fmla="*/ 109220 h 138429"/>
                <a:gd name="connsiteX973" fmla="*/ 1250951 w 4940931"/>
                <a:gd name="connsiteY973" fmla="*/ 110490 h 138429"/>
                <a:gd name="connsiteX974" fmla="*/ 1235711 w 4940931"/>
                <a:gd name="connsiteY974" fmla="*/ 107950 h 138429"/>
                <a:gd name="connsiteX975" fmla="*/ 1221106 w 4940931"/>
                <a:gd name="connsiteY975" fmla="*/ 100965 h 138429"/>
                <a:gd name="connsiteX976" fmla="*/ 1228091 w 4940931"/>
                <a:gd name="connsiteY976" fmla="*/ 89535 h 138429"/>
                <a:gd name="connsiteX977" fmla="*/ 1239521 w 4940931"/>
                <a:gd name="connsiteY977" fmla="*/ 95250 h 138429"/>
                <a:gd name="connsiteX978" fmla="*/ 1250951 w 4940931"/>
                <a:gd name="connsiteY978" fmla="*/ 97155 h 138429"/>
                <a:gd name="connsiteX979" fmla="*/ 1261746 w 4940931"/>
                <a:gd name="connsiteY979" fmla="*/ 94615 h 138429"/>
                <a:gd name="connsiteX980" fmla="*/ 1264921 w 4940931"/>
                <a:gd name="connsiteY980" fmla="*/ 88265 h 138429"/>
                <a:gd name="connsiteX981" fmla="*/ 1263650 w 4940931"/>
                <a:gd name="connsiteY981" fmla="*/ 84455 h 138429"/>
                <a:gd name="connsiteX982" fmla="*/ 1259841 w 4940931"/>
                <a:gd name="connsiteY982" fmla="*/ 81280 h 138429"/>
                <a:gd name="connsiteX983" fmla="*/ 1254125 w 4940931"/>
                <a:gd name="connsiteY983" fmla="*/ 78105 h 138429"/>
                <a:gd name="connsiteX984" fmla="*/ 1246506 w 4940931"/>
                <a:gd name="connsiteY984" fmla="*/ 74930 h 138429"/>
                <a:gd name="connsiteX985" fmla="*/ 1235711 w 4940931"/>
                <a:gd name="connsiteY985" fmla="*/ 69850 h 138429"/>
                <a:gd name="connsiteX986" fmla="*/ 1228726 w 4940931"/>
                <a:gd name="connsiteY986" fmla="*/ 64770 h 138429"/>
                <a:gd name="connsiteX987" fmla="*/ 1224916 w 4940931"/>
                <a:gd name="connsiteY987" fmla="*/ 58420 h 138429"/>
                <a:gd name="connsiteX988" fmla="*/ 1223646 w 4940931"/>
                <a:gd name="connsiteY988" fmla="*/ 50165 h 138429"/>
                <a:gd name="connsiteX989" fmla="*/ 1225551 w 4940931"/>
                <a:gd name="connsiteY989" fmla="*/ 40640 h 138429"/>
                <a:gd name="connsiteX990" fmla="*/ 1231266 w 4940931"/>
                <a:gd name="connsiteY990" fmla="*/ 34290 h 138429"/>
                <a:gd name="connsiteX991" fmla="*/ 1239521 w 4940931"/>
                <a:gd name="connsiteY991" fmla="*/ 30480 h 138429"/>
                <a:gd name="connsiteX992" fmla="*/ 1250316 w 4940931"/>
                <a:gd name="connsiteY992" fmla="*/ 29210 h 138429"/>
                <a:gd name="connsiteX993" fmla="*/ 1180466 w 4940931"/>
                <a:gd name="connsiteY993" fmla="*/ 29210 h 138429"/>
                <a:gd name="connsiteX994" fmla="*/ 1195071 w 4940931"/>
                <a:gd name="connsiteY994" fmla="*/ 32385 h 138429"/>
                <a:gd name="connsiteX995" fmla="*/ 1205231 w 4940931"/>
                <a:gd name="connsiteY995" fmla="*/ 40640 h 138429"/>
                <a:gd name="connsiteX996" fmla="*/ 1211581 w 4940931"/>
                <a:gd name="connsiteY996" fmla="*/ 53340 h 138429"/>
                <a:gd name="connsiteX997" fmla="*/ 1213486 w 4940931"/>
                <a:gd name="connsiteY997" fmla="*/ 68580 h 138429"/>
                <a:gd name="connsiteX998" fmla="*/ 1212216 w 4940931"/>
                <a:gd name="connsiteY998" fmla="*/ 68580 h 138429"/>
                <a:gd name="connsiteX999" fmla="*/ 1212216 w 4940931"/>
                <a:gd name="connsiteY999" fmla="*/ 72390 h 138429"/>
                <a:gd name="connsiteX1000" fmla="*/ 1212216 w 4940931"/>
                <a:gd name="connsiteY1000" fmla="*/ 75565 h 138429"/>
                <a:gd name="connsiteX1001" fmla="*/ 1160781 w 4940931"/>
                <a:gd name="connsiteY1001" fmla="*/ 75565 h 138429"/>
                <a:gd name="connsiteX1002" fmla="*/ 1163321 w 4940931"/>
                <a:gd name="connsiteY1002" fmla="*/ 85090 h 138429"/>
                <a:gd name="connsiteX1003" fmla="*/ 1167766 w 4940931"/>
                <a:gd name="connsiteY1003" fmla="*/ 91440 h 138429"/>
                <a:gd name="connsiteX1004" fmla="*/ 1173481 w 4940931"/>
                <a:gd name="connsiteY1004" fmla="*/ 95250 h 138429"/>
                <a:gd name="connsiteX1005" fmla="*/ 1180466 w 4940931"/>
                <a:gd name="connsiteY1005" fmla="*/ 96520 h 138429"/>
                <a:gd name="connsiteX1006" fmla="*/ 1185546 w 4940931"/>
                <a:gd name="connsiteY1006" fmla="*/ 96520 h 138429"/>
                <a:gd name="connsiteX1007" fmla="*/ 1189991 w 4940931"/>
                <a:gd name="connsiteY1007" fmla="*/ 95250 h 138429"/>
                <a:gd name="connsiteX1008" fmla="*/ 1193801 w 4940931"/>
                <a:gd name="connsiteY1008" fmla="*/ 93345 h 138429"/>
                <a:gd name="connsiteX1009" fmla="*/ 1198246 w 4940931"/>
                <a:gd name="connsiteY1009" fmla="*/ 90805 h 138429"/>
                <a:gd name="connsiteX1010" fmla="*/ 1207136 w 4940931"/>
                <a:gd name="connsiteY1010" fmla="*/ 100330 h 138429"/>
                <a:gd name="connsiteX1011" fmla="*/ 1201421 w 4940931"/>
                <a:gd name="connsiteY1011" fmla="*/ 104775 h 138429"/>
                <a:gd name="connsiteX1012" fmla="*/ 1195706 w 4940931"/>
                <a:gd name="connsiteY1012" fmla="*/ 107950 h 138429"/>
                <a:gd name="connsiteX1013" fmla="*/ 1188721 w 4940931"/>
                <a:gd name="connsiteY1013" fmla="*/ 109855 h 138429"/>
                <a:gd name="connsiteX1014" fmla="*/ 1179831 w 4940931"/>
                <a:gd name="connsiteY1014" fmla="*/ 110490 h 138429"/>
                <a:gd name="connsiteX1015" fmla="*/ 1170306 w 4940931"/>
                <a:gd name="connsiteY1015" fmla="*/ 109220 h 138429"/>
                <a:gd name="connsiteX1016" fmla="*/ 1162686 w 4940931"/>
                <a:gd name="connsiteY1016" fmla="*/ 105410 h 138429"/>
                <a:gd name="connsiteX1017" fmla="*/ 1156336 w 4940931"/>
                <a:gd name="connsiteY1017" fmla="*/ 100330 h 138429"/>
                <a:gd name="connsiteX1018" fmla="*/ 1151256 w 4940931"/>
                <a:gd name="connsiteY1018" fmla="*/ 92710 h 138429"/>
                <a:gd name="connsiteX1019" fmla="*/ 1147446 w 4940931"/>
                <a:gd name="connsiteY1019" fmla="*/ 82550 h 138429"/>
                <a:gd name="connsiteX1020" fmla="*/ 1146176 w 4940931"/>
                <a:gd name="connsiteY1020" fmla="*/ 69850 h 138429"/>
                <a:gd name="connsiteX1021" fmla="*/ 1148716 w 4940931"/>
                <a:gd name="connsiteY1021" fmla="*/ 52070 h 138429"/>
                <a:gd name="connsiteX1022" fmla="*/ 1155701 w 4940931"/>
                <a:gd name="connsiteY1022" fmla="*/ 39370 h 138429"/>
                <a:gd name="connsiteX1023" fmla="*/ 1166496 w 4940931"/>
                <a:gd name="connsiteY1023" fmla="*/ 31750 h 138429"/>
                <a:gd name="connsiteX1024" fmla="*/ 1180466 w 4940931"/>
                <a:gd name="connsiteY1024" fmla="*/ 29210 h 138429"/>
                <a:gd name="connsiteX1025" fmla="*/ 901065 w 4940931"/>
                <a:gd name="connsiteY1025" fmla="*/ 29210 h 138429"/>
                <a:gd name="connsiteX1026" fmla="*/ 915670 w 4940931"/>
                <a:gd name="connsiteY1026" fmla="*/ 32385 h 138429"/>
                <a:gd name="connsiteX1027" fmla="*/ 925830 w 4940931"/>
                <a:gd name="connsiteY1027" fmla="*/ 40640 h 138429"/>
                <a:gd name="connsiteX1028" fmla="*/ 932180 w 4940931"/>
                <a:gd name="connsiteY1028" fmla="*/ 53340 h 138429"/>
                <a:gd name="connsiteX1029" fmla="*/ 934085 w 4940931"/>
                <a:gd name="connsiteY1029" fmla="*/ 68580 h 138429"/>
                <a:gd name="connsiteX1030" fmla="*/ 932815 w 4940931"/>
                <a:gd name="connsiteY1030" fmla="*/ 68580 h 138429"/>
                <a:gd name="connsiteX1031" fmla="*/ 932815 w 4940931"/>
                <a:gd name="connsiteY1031" fmla="*/ 72390 h 138429"/>
                <a:gd name="connsiteX1032" fmla="*/ 932815 w 4940931"/>
                <a:gd name="connsiteY1032" fmla="*/ 75565 h 138429"/>
                <a:gd name="connsiteX1033" fmla="*/ 881380 w 4940931"/>
                <a:gd name="connsiteY1033" fmla="*/ 75565 h 138429"/>
                <a:gd name="connsiteX1034" fmla="*/ 883920 w 4940931"/>
                <a:gd name="connsiteY1034" fmla="*/ 85090 h 138429"/>
                <a:gd name="connsiteX1035" fmla="*/ 888365 w 4940931"/>
                <a:gd name="connsiteY1035" fmla="*/ 91440 h 138429"/>
                <a:gd name="connsiteX1036" fmla="*/ 894080 w 4940931"/>
                <a:gd name="connsiteY1036" fmla="*/ 95250 h 138429"/>
                <a:gd name="connsiteX1037" fmla="*/ 901065 w 4940931"/>
                <a:gd name="connsiteY1037" fmla="*/ 96520 h 138429"/>
                <a:gd name="connsiteX1038" fmla="*/ 906145 w 4940931"/>
                <a:gd name="connsiteY1038" fmla="*/ 96520 h 138429"/>
                <a:gd name="connsiteX1039" fmla="*/ 910590 w 4940931"/>
                <a:gd name="connsiteY1039" fmla="*/ 95250 h 138429"/>
                <a:gd name="connsiteX1040" fmla="*/ 914400 w 4940931"/>
                <a:gd name="connsiteY1040" fmla="*/ 93345 h 138429"/>
                <a:gd name="connsiteX1041" fmla="*/ 918845 w 4940931"/>
                <a:gd name="connsiteY1041" fmla="*/ 90805 h 138429"/>
                <a:gd name="connsiteX1042" fmla="*/ 927735 w 4940931"/>
                <a:gd name="connsiteY1042" fmla="*/ 100330 h 138429"/>
                <a:gd name="connsiteX1043" fmla="*/ 922020 w 4940931"/>
                <a:gd name="connsiteY1043" fmla="*/ 104775 h 138429"/>
                <a:gd name="connsiteX1044" fmla="*/ 916305 w 4940931"/>
                <a:gd name="connsiteY1044" fmla="*/ 107950 h 138429"/>
                <a:gd name="connsiteX1045" fmla="*/ 909320 w 4940931"/>
                <a:gd name="connsiteY1045" fmla="*/ 109855 h 138429"/>
                <a:gd name="connsiteX1046" fmla="*/ 900430 w 4940931"/>
                <a:gd name="connsiteY1046" fmla="*/ 110490 h 138429"/>
                <a:gd name="connsiteX1047" fmla="*/ 890905 w 4940931"/>
                <a:gd name="connsiteY1047" fmla="*/ 109220 h 138429"/>
                <a:gd name="connsiteX1048" fmla="*/ 883285 w 4940931"/>
                <a:gd name="connsiteY1048" fmla="*/ 105410 h 138429"/>
                <a:gd name="connsiteX1049" fmla="*/ 876935 w 4940931"/>
                <a:gd name="connsiteY1049" fmla="*/ 100330 h 138429"/>
                <a:gd name="connsiteX1050" fmla="*/ 871855 w 4940931"/>
                <a:gd name="connsiteY1050" fmla="*/ 92710 h 138429"/>
                <a:gd name="connsiteX1051" fmla="*/ 868045 w 4940931"/>
                <a:gd name="connsiteY1051" fmla="*/ 82550 h 138429"/>
                <a:gd name="connsiteX1052" fmla="*/ 866775 w 4940931"/>
                <a:gd name="connsiteY1052" fmla="*/ 69850 h 138429"/>
                <a:gd name="connsiteX1053" fmla="*/ 869315 w 4940931"/>
                <a:gd name="connsiteY1053" fmla="*/ 52070 h 138429"/>
                <a:gd name="connsiteX1054" fmla="*/ 876300 w 4940931"/>
                <a:gd name="connsiteY1054" fmla="*/ 39370 h 138429"/>
                <a:gd name="connsiteX1055" fmla="*/ 887095 w 4940931"/>
                <a:gd name="connsiteY1055" fmla="*/ 31750 h 138429"/>
                <a:gd name="connsiteX1056" fmla="*/ 901065 w 4940931"/>
                <a:gd name="connsiteY1056" fmla="*/ 29210 h 138429"/>
                <a:gd name="connsiteX1057" fmla="*/ 668656 w 4940931"/>
                <a:gd name="connsiteY1057" fmla="*/ 29210 h 138429"/>
                <a:gd name="connsiteX1058" fmla="*/ 676275 w 4940931"/>
                <a:gd name="connsiteY1058" fmla="*/ 29845 h 138429"/>
                <a:gd name="connsiteX1059" fmla="*/ 681991 w 4940931"/>
                <a:gd name="connsiteY1059" fmla="*/ 32385 h 138429"/>
                <a:gd name="connsiteX1060" fmla="*/ 678181 w 4940931"/>
                <a:gd name="connsiteY1060" fmla="*/ 46990 h 138429"/>
                <a:gd name="connsiteX1061" fmla="*/ 676910 w 4940931"/>
                <a:gd name="connsiteY1061" fmla="*/ 46990 h 138429"/>
                <a:gd name="connsiteX1062" fmla="*/ 671830 w 4940931"/>
                <a:gd name="connsiteY1062" fmla="*/ 45085 h 138429"/>
                <a:gd name="connsiteX1063" fmla="*/ 665480 w 4940931"/>
                <a:gd name="connsiteY1063" fmla="*/ 44450 h 138429"/>
                <a:gd name="connsiteX1064" fmla="*/ 654050 w 4940931"/>
                <a:gd name="connsiteY1064" fmla="*/ 49530 h 138429"/>
                <a:gd name="connsiteX1065" fmla="*/ 650240 w 4940931"/>
                <a:gd name="connsiteY1065" fmla="*/ 64770 h 138429"/>
                <a:gd name="connsiteX1066" fmla="*/ 650240 w 4940931"/>
                <a:gd name="connsiteY1066" fmla="*/ 109220 h 138429"/>
                <a:gd name="connsiteX1067" fmla="*/ 635000 w 4940931"/>
                <a:gd name="connsiteY1067" fmla="*/ 109220 h 138429"/>
                <a:gd name="connsiteX1068" fmla="*/ 635000 w 4940931"/>
                <a:gd name="connsiteY1068" fmla="*/ 31115 h 138429"/>
                <a:gd name="connsiteX1069" fmla="*/ 650240 w 4940931"/>
                <a:gd name="connsiteY1069" fmla="*/ 31115 h 138429"/>
                <a:gd name="connsiteX1070" fmla="*/ 650240 w 4940931"/>
                <a:gd name="connsiteY1070" fmla="*/ 38735 h 138429"/>
                <a:gd name="connsiteX1071" fmla="*/ 653416 w 4940931"/>
                <a:gd name="connsiteY1071" fmla="*/ 34925 h 138429"/>
                <a:gd name="connsiteX1072" fmla="*/ 657861 w 4940931"/>
                <a:gd name="connsiteY1072" fmla="*/ 31750 h 138429"/>
                <a:gd name="connsiteX1073" fmla="*/ 662940 w 4940931"/>
                <a:gd name="connsiteY1073" fmla="*/ 29845 h 138429"/>
                <a:gd name="connsiteX1074" fmla="*/ 668656 w 4940931"/>
                <a:gd name="connsiteY1074" fmla="*/ 29210 h 138429"/>
                <a:gd name="connsiteX1075" fmla="*/ 586739 w 4940931"/>
                <a:gd name="connsiteY1075" fmla="*/ 29210 h 138429"/>
                <a:gd name="connsiteX1076" fmla="*/ 601344 w 4940931"/>
                <a:gd name="connsiteY1076" fmla="*/ 32385 h 138429"/>
                <a:gd name="connsiteX1077" fmla="*/ 611504 w 4940931"/>
                <a:gd name="connsiteY1077" fmla="*/ 40640 h 138429"/>
                <a:gd name="connsiteX1078" fmla="*/ 617854 w 4940931"/>
                <a:gd name="connsiteY1078" fmla="*/ 53340 h 138429"/>
                <a:gd name="connsiteX1079" fmla="*/ 619759 w 4940931"/>
                <a:gd name="connsiteY1079" fmla="*/ 68580 h 138429"/>
                <a:gd name="connsiteX1080" fmla="*/ 618489 w 4940931"/>
                <a:gd name="connsiteY1080" fmla="*/ 68580 h 138429"/>
                <a:gd name="connsiteX1081" fmla="*/ 618489 w 4940931"/>
                <a:gd name="connsiteY1081" fmla="*/ 72390 h 138429"/>
                <a:gd name="connsiteX1082" fmla="*/ 618489 w 4940931"/>
                <a:gd name="connsiteY1082" fmla="*/ 75565 h 138429"/>
                <a:gd name="connsiteX1083" fmla="*/ 567054 w 4940931"/>
                <a:gd name="connsiteY1083" fmla="*/ 75565 h 138429"/>
                <a:gd name="connsiteX1084" fmla="*/ 569594 w 4940931"/>
                <a:gd name="connsiteY1084" fmla="*/ 85090 h 138429"/>
                <a:gd name="connsiteX1085" fmla="*/ 574039 w 4940931"/>
                <a:gd name="connsiteY1085" fmla="*/ 91440 h 138429"/>
                <a:gd name="connsiteX1086" fmla="*/ 579754 w 4940931"/>
                <a:gd name="connsiteY1086" fmla="*/ 95250 h 138429"/>
                <a:gd name="connsiteX1087" fmla="*/ 586739 w 4940931"/>
                <a:gd name="connsiteY1087" fmla="*/ 96520 h 138429"/>
                <a:gd name="connsiteX1088" fmla="*/ 591819 w 4940931"/>
                <a:gd name="connsiteY1088" fmla="*/ 96520 h 138429"/>
                <a:gd name="connsiteX1089" fmla="*/ 596264 w 4940931"/>
                <a:gd name="connsiteY1089" fmla="*/ 95250 h 138429"/>
                <a:gd name="connsiteX1090" fmla="*/ 600074 w 4940931"/>
                <a:gd name="connsiteY1090" fmla="*/ 93345 h 138429"/>
                <a:gd name="connsiteX1091" fmla="*/ 604519 w 4940931"/>
                <a:gd name="connsiteY1091" fmla="*/ 90805 h 138429"/>
                <a:gd name="connsiteX1092" fmla="*/ 613409 w 4940931"/>
                <a:gd name="connsiteY1092" fmla="*/ 100330 h 138429"/>
                <a:gd name="connsiteX1093" fmla="*/ 607694 w 4940931"/>
                <a:gd name="connsiteY1093" fmla="*/ 104775 h 138429"/>
                <a:gd name="connsiteX1094" fmla="*/ 601979 w 4940931"/>
                <a:gd name="connsiteY1094" fmla="*/ 107950 h 138429"/>
                <a:gd name="connsiteX1095" fmla="*/ 594994 w 4940931"/>
                <a:gd name="connsiteY1095" fmla="*/ 109855 h 138429"/>
                <a:gd name="connsiteX1096" fmla="*/ 586104 w 4940931"/>
                <a:gd name="connsiteY1096" fmla="*/ 110490 h 138429"/>
                <a:gd name="connsiteX1097" fmla="*/ 576579 w 4940931"/>
                <a:gd name="connsiteY1097" fmla="*/ 109220 h 138429"/>
                <a:gd name="connsiteX1098" fmla="*/ 568959 w 4940931"/>
                <a:gd name="connsiteY1098" fmla="*/ 105410 h 138429"/>
                <a:gd name="connsiteX1099" fmla="*/ 562609 w 4940931"/>
                <a:gd name="connsiteY1099" fmla="*/ 100330 h 138429"/>
                <a:gd name="connsiteX1100" fmla="*/ 557529 w 4940931"/>
                <a:gd name="connsiteY1100" fmla="*/ 92710 h 138429"/>
                <a:gd name="connsiteX1101" fmla="*/ 553719 w 4940931"/>
                <a:gd name="connsiteY1101" fmla="*/ 82550 h 138429"/>
                <a:gd name="connsiteX1102" fmla="*/ 552449 w 4940931"/>
                <a:gd name="connsiteY1102" fmla="*/ 69850 h 138429"/>
                <a:gd name="connsiteX1103" fmla="*/ 554989 w 4940931"/>
                <a:gd name="connsiteY1103" fmla="*/ 52070 h 138429"/>
                <a:gd name="connsiteX1104" fmla="*/ 561974 w 4940931"/>
                <a:gd name="connsiteY1104" fmla="*/ 39370 h 138429"/>
                <a:gd name="connsiteX1105" fmla="*/ 572769 w 4940931"/>
                <a:gd name="connsiteY1105" fmla="*/ 31750 h 138429"/>
                <a:gd name="connsiteX1106" fmla="*/ 586739 w 4940931"/>
                <a:gd name="connsiteY1106" fmla="*/ 29210 h 138429"/>
                <a:gd name="connsiteX1107" fmla="*/ 400050 w 4940931"/>
                <a:gd name="connsiteY1107" fmla="*/ 29210 h 138429"/>
                <a:gd name="connsiteX1108" fmla="*/ 414655 w 4940931"/>
                <a:gd name="connsiteY1108" fmla="*/ 32385 h 138429"/>
                <a:gd name="connsiteX1109" fmla="*/ 424815 w 4940931"/>
                <a:gd name="connsiteY1109" fmla="*/ 40640 h 138429"/>
                <a:gd name="connsiteX1110" fmla="*/ 431165 w 4940931"/>
                <a:gd name="connsiteY1110" fmla="*/ 53340 h 138429"/>
                <a:gd name="connsiteX1111" fmla="*/ 433070 w 4940931"/>
                <a:gd name="connsiteY1111" fmla="*/ 68580 h 138429"/>
                <a:gd name="connsiteX1112" fmla="*/ 431800 w 4940931"/>
                <a:gd name="connsiteY1112" fmla="*/ 68580 h 138429"/>
                <a:gd name="connsiteX1113" fmla="*/ 431800 w 4940931"/>
                <a:gd name="connsiteY1113" fmla="*/ 72390 h 138429"/>
                <a:gd name="connsiteX1114" fmla="*/ 431800 w 4940931"/>
                <a:gd name="connsiteY1114" fmla="*/ 75565 h 138429"/>
                <a:gd name="connsiteX1115" fmla="*/ 380365 w 4940931"/>
                <a:gd name="connsiteY1115" fmla="*/ 75565 h 138429"/>
                <a:gd name="connsiteX1116" fmla="*/ 382905 w 4940931"/>
                <a:gd name="connsiteY1116" fmla="*/ 85090 h 138429"/>
                <a:gd name="connsiteX1117" fmla="*/ 387350 w 4940931"/>
                <a:gd name="connsiteY1117" fmla="*/ 91440 h 138429"/>
                <a:gd name="connsiteX1118" fmla="*/ 393065 w 4940931"/>
                <a:gd name="connsiteY1118" fmla="*/ 95250 h 138429"/>
                <a:gd name="connsiteX1119" fmla="*/ 400050 w 4940931"/>
                <a:gd name="connsiteY1119" fmla="*/ 96520 h 138429"/>
                <a:gd name="connsiteX1120" fmla="*/ 405130 w 4940931"/>
                <a:gd name="connsiteY1120" fmla="*/ 96520 h 138429"/>
                <a:gd name="connsiteX1121" fmla="*/ 409575 w 4940931"/>
                <a:gd name="connsiteY1121" fmla="*/ 95250 h 138429"/>
                <a:gd name="connsiteX1122" fmla="*/ 413385 w 4940931"/>
                <a:gd name="connsiteY1122" fmla="*/ 93345 h 138429"/>
                <a:gd name="connsiteX1123" fmla="*/ 417830 w 4940931"/>
                <a:gd name="connsiteY1123" fmla="*/ 90805 h 138429"/>
                <a:gd name="connsiteX1124" fmla="*/ 426720 w 4940931"/>
                <a:gd name="connsiteY1124" fmla="*/ 100330 h 138429"/>
                <a:gd name="connsiteX1125" fmla="*/ 421005 w 4940931"/>
                <a:gd name="connsiteY1125" fmla="*/ 104775 h 138429"/>
                <a:gd name="connsiteX1126" fmla="*/ 415290 w 4940931"/>
                <a:gd name="connsiteY1126" fmla="*/ 107950 h 138429"/>
                <a:gd name="connsiteX1127" fmla="*/ 408305 w 4940931"/>
                <a:gd name="connsiteY1127" fmla="*/ 109855 h 138429"/>
                <a:gd name="connsiteX1128" fmla="*/ 399415 w 4940931"/>
                <a:gd name="connsiteY1128" fmla="*/ 110490 h 138429"/>
                <a:gd name="connsiteX1129" fmla="*/ 389890 w 4940931"/>
                <a:gd name="connsiteY1129" fmla="*/ 109220 h 138429"/>
                <a:gd name="connsiteX1130" fmla="*/ 382270 w 4940931"/>
                <a:gd name="connsiteY1130" fmla="*/ 105410 h 138429"/>
                <a:gd name="connsiteX1131" fmla="*/ 375920 w 4940931"/>
                <a:gd name="connsiteY1131" fmla="*/ 100330 h 138429"/>
                <a:gd name="connsiteX1132" fmla="*/ 370840 w 4940931"/>
                <a:gd name="connsiteY1132" fmla="*/ 92710 h 138429"/>
                <a:gd name="connsiteX1133" fmla="*/ 367030 w 4940931"/>
                <a:gd name="connsiteY1133" fmla="*/ 82550 h 138429"/>
                <a:gd name="connsiteX1134" fmla="*/ 365760 w 4940931"/>
                <a:gd name="connsiteY1134" fmla="*/ 69850 h 138429"/>
                <a:gd name="connsiteX1135" fmla="*/ 368300 w 4940931"/>
                <a:gd name="connsiteY1135" fmla="*/ 52070 h 138429"/>
                <a:gd name="connsiteX1136" fmla="*/ 375285 w 4940931"/>
                <a:gd name="connsiteY1136" fmla="*/ 39370 h 138429"/>
                <a:gd name="connsiteX1137" fmla="*/ 386080 w 4940931"/>
                <a:gd name="connsiteY1137" fmla="*/ 31750 h 138429"/>
                <a:gd name="connsiteX1138" fmla="*/ 400050 w 4940931"/>
                <a:gd name="connsiteY1138" fmla="*/ 29210 h 138429"/>
                <a:gd name="connsiteX1139" fmla="*/ 201930 w 4940931"/>
                <a:gd name="connsiteY1139" fmla="*/ 29210 h 138429"/>
                <a:gd name="connsiteX1140" fmla="*/ 216535 w 4940931"/>
                <a:gd name="connsiteY1140" fmla="*/ 32385 h 138429"/>
                <a:gd name="connsiteX1141" fmla="*/ 226695 w 4940931"/>
                <a:gd name="connsiteY1141" fmla="*/ 40640 h 138429"/>
                <a:gd name="connsiteX1142" fmla="*/ 233045 w 4940931"/>
                <a:gd name="connsiteY1142" fmla="*/ 53340 h 138429"/>
                <a:gd name="connsiteX1143" fmla="*/ 234950 w 4940931"/>
                <a:gd name="connsiteY1143" fmla="*/ 68580 h 138429"/>
                <a:gd name="connsiteX1144" fmla="*/ 233680 w 4940931"/>
                <a:gd name="connsiteY1144" fmla="*/ 68580 h 138429"/>
                <a:gd name="connsiteX1145" fmla="*/ 233680 w 4940931"/>
                <a:gd name="connsiteY1145" fmla="*/ 72390 h 138429"/>
                <a:gd name="connsiteX1146" fmla="*/ 233680 w 4940931"/>
                <a:gd name="connsiteY1146" fmla="*/ 75565 h 138429"/>
                <a:gd name="connsiteX1147" fmla="*/ 182245 w 4940931"/>
                <a:gd name="connsiteY1147" fmla="*/ 75565 h 138429"/>
                <a:gd name="connsiteX1148" fmla="*/ 184785 w 4940931"/>
                <a:gd name="connsiteY1148" fmla="*/ 85090 h 138429"/>
                <a:gd name="connsiteX1149" fmla="*/ 189230 w 4940931"/>
                <a:gd name="connsiteY1149" fmla="*/ 91440 h 138429"/>
                <a:gd name="connsiteX1150" fmla="*/ 194945 w 4940931"/>
                <a:gd name="connsiteY1150" fmla="*/ 95250 h 138429"/>
                <a:gd name="connsiteX1151" fmla="*/ 201930 w 4940931"/>
                <a:gd name="connsiteY1151" fmla="*/ 96520 h 138429"/>
                <a:gd name="connsiteX1152" fmla="*/ 207010 w 4940931"/>
                <a:gd name="connsiteY1152" fmla="*/ 96520 h 138429"/>
                <a:gd name="connsiteX1153" fmla="*/ 211455 w 4940931"/>
                <a:gd name="connsiteY1153" fmla="*/ 95250 h 138429"/>
                <a:gd name="connsiteX1154" fmla="*/ 215265 w 4940931"/>
                <a:gd name="connsiteY1154" fmla="*/ 93345 h 138429"/>
                <a:gd name="connsiteX1155" fmla="*/ 219710 w 4940931"/>
                <a:gd name="connsiteY1155" fmla="*/ 90805 h 138429"/>
                <a:gd name="connsiteX1156" fmla="*/ 228600 w 4940931"/>
                <a:gd name="connsiteY1156" fmla="*/ 100330 h 138429"/>
                <a:gd name="connsiteX1157" fmla="*/ 222885 w 4940931"/>
                <a:gd name="connsiteY1157" fmla="*/ 104775 h 138429"/>
                <a:gd name="connsiteX1158" fmla="*/ 217170 w 4940931"/>
                <a:gd name="connsiteY1158" fmla="*/ 107950 h 138429"/>
                <a:gd name="connsiteX1159" fmla="*/ 210185 w 4940931"/>
                <a:gd name="connsiteY1159" fmla="*/ 109855 h 138429"/>
                <a:gd name="connsiteX1160" fmla="*/ 201295 w 4940931"/>
                <a:gd name="connsiteY1160" fmla="*/ 110490 h 138429"/>
                <a:gd name="connsiteX1161" fmla="*/ 191770 w 4940931"/>
                <a:gd name="connsiteY1161" fmla="*/ 109220 h 138429"/>
                <a:gd name="connsiteX1162" fmla="*/ 184150 w 4940931"/>
                <a:gd name="connsiteY1162" fmla="*/ 105410 h 138429"/>
                <a:gd name="connsiteX1163" fmla="*/ 177800 w 4940931"/>
                <a:gd name="connsiteY1163" fmla="*/ 100330 h 138429"/>
                <a:gd name="connsiteX1164" fmla="*/ 172720 w 4940931"/>
                <a:gd name="connsiteY1164" fmla="*/ 92710 h 138429"/>
                <a:gd name="connsiteX1165" fmla="*/ 168910 w 4940931"/>
                <a:gd name="connsiteY1165" fmla="*/ 82550 h 138429"/>
                <a:gd name="connsiteX1166" fmla="*/ 167640 w 4940931"/>
                <a:gd name="connsiteY1166" fmla="*/ 69850 h 138429"/>
                <a:gd name="connsiteX1167" fmla="*/ 170180 w 4940931"/>
                <a:gd name="connsiteY1167" fmla="*/ 52070 h 138429"/>
                <a:gd name="connsiteX1168" fmla="*/ 177165 w 4940931"/>
                <a:gd name="connsiteY1168" fmla="*/ 39370 h 138429"/>
                <a:gd name="connsiteX1169" fmla="*/ 187960 w 4940931"/>
                <a:gd name="connsiteY1169" fmla="*/ 31750 h 138429"/>
                <a:gd name="connsiteX1170" fmla="*/ 201930 w 4940931"/>
                <a:gd name="connsiteY1170" fmla="*/ 29210 h 138429"/>
                <a:gd name="connsiteX1171" fmla="*/ 4664706 w 4940931"/>
                <a:gd name="connsiteY1171" fmla="*/ 28574 h 138429"/>
                <a:gd name="connsiteX1172" fmla="*/ 4678676 w 4940931"/>
                <a:gd name="connsiteY1172" fmla="*/ 31749 h 138429"/>
                <a:gd name="connsiteX1173" fmla="*/ 4689471 w 4940931"/>
                <a:gd name="connsiteY1173" fmla="*/ 40004 h 138429"/>
                <a:gd name="connsiteX1174" fmla="*/ 4696456 w 4940931"/>
                <a:gd name="connsiteY1174" fmla="*/ 52704 h 138429"/>
                <a:gd name="connsiteX1175" fmla="*/ 4698996 w 4940931"/>
                <a:gd name="connsiteY1175" fmla="*/ 69214 h 138429"/>
                <a:gd name="connsiteX1176" fmla="*/ 4699631 w 4940931"/>
                <a:gd name="connsiteY1176" fmla="*/ 69214 h 138429"/>
                <a:gd name="connsiteX1177" fmla="*/ 4697091 w 4940931"/>
                <a:gd name="connsiteY1177" fmla="*/ 86359 h 138429"/>
                <a:gd name="connsiteX1178" fmla="*/ 4689471 w 4940931"/>
                <a:gd name="connsiteY1178" fmla="*/ 99059 h 138429"/>
                <a:gd name="connsiteX1179" fmla="*/ 4678041 w 4940931"/>
                <a:gd name="connsiteY1179" fmla="*/ 107314 h 138429"/>
                <a:gd name="connsiteX1180" fmla="*/ 4664071 w 4940931"/>
                <a:gd name="connsiteY1180" fmla="*/ 109854 h 138429"/>
                <a:gd name="connsiteX1181" fmla="*/ 4650101 w 4940931"/>
                <a:gd name="connsiteY1181" fmla="*/ 106679 h 138429"/>
                <a:gd name="connsiteX1182" fmla="*/ 4639306 w 4940931"/>
                <a:gd name="connsiteY1182" fmla="*/ 98424 h 138429"/>
                <a:gd name="connsiteX1183" fmla="*/ 4632321 w 4940931"/>
                <a:gd name="connsiteY1183" fmla="*/ 85724 h 138429"/>
                <a:gd name="connsiteX1184" fmla="*/ 4629781 w 4940931"/>
                <a:gd name="connsiteY1184" fmla="*/ 69214 h 138429"/>
                <a:gd name="connsiteX1185" fmla="*/ 4632321 w 4940931"/>
                <a:gd name="connsiteY1185" fmla="*/ 52069 h 138429"/>
                <a:gd name="connsiteX1186" fmla="*/ 4639941 w 4940931"/>
                <a:gd name="connsiteY1186" fmla="*/ 39369 h 138429"/>
                <a:gd name="connsiteX1187" fmla="*/ 4650736 w 4940931"/>
                <a:gd name="connsiteY1187" fmla="*/ 31114 h 138429"/>
                <a:gd name="connsiteX1188" fmla="*/ 4664706 w 4940931"/>
                <a:gd name="connsiteY1188" fmla="*/ 28574 h 138429"/>
                <a:gd name="connsiteX1189" fmla="*/ 4264655 w 4940931"/>
                <a:gd name="connsiteY1189" fmla="*/ 28574 h 138429"/>
                <a:gd name="connsiteX1190" fmla="*/ 4278625 w 4940931"/>
                <a:gd name="connsiteY1190" fmla="*/ 31749 h 138429"/>
                <a:gd name="connsiteX1191" fmla="*/ 4289420 w 4940931"/>
                <a:gd name="connsiteY1191" fmla="*/ 40004 h 138429"/>
                <a:gd name="connsiteX1192" fmla="*/ 4296405 w 4940931"/>
                <a:gd name="connsiteY1192" fmla="*/ 52704 h 138429"/>
                <a:gd name="connsiteX1193" fmla="*/ 4298945 w 4940931"/>
                <a:gd name="connsiteY1193" fmla="*/ 69214 h 138429"/>
                <a:gd name="connsiteX1194" fmla="*/ 4299580 w 4940931"/>
                <a:gd name="connsiteY1194" fmla="*/ 69214 h 138429"/>
                <a:gd name="connsiteX1195" fmla="*/ 4297040 w 4940931"/>
                <a:gd name="connsiteY1195" fmla="*/ 86359 h 138429"/>
                <a:gd name="connsiteX1196" fmla="*/ 4289420 w 4940931"/>
                <a:gd name="connsiteY1196" fmla="*/ 99059 h 138429"/>
                <a:gd name="connsiteX1197" fmla="*/ 4277990 w 4940931"/>
                <a:gd name="connsiteY1197" fmla="*/ 107314 h 138429"/>
                <a:gd name="connsiteX1198" fmla="*/ 4264020 w 4940931"/>
                <a:gd name="connsiteY1198" fmla="*/ 109854 h 138429"/>
                <a:gd name="connsiteX1199" fmla="*/ 4250050 w 4940931"/>
                <a:gd name="connsiteY1199" fmla="*/ 106679 h 138429"/>
                <a:gd name="connsiteX1200" fmla="*/ 4239255 w 4940931"/>
                <a:gd name="connsiteY1200" fmla="*/ 98424 h 138429"/>
                <a:gd name="connsiteX1201" fmla="*/ 4232270 w 4940931"/>
                <a:gd name="connsiteY1201" fmla="*/ 85724 h 138429"/>
                <a:gd name="connsiteX1202" fmla="*/ 4229730 w 4940931"/>
                <a:gd name="connsiteY1202" fmla="*/ 69214 h 138429"/>
                <a:gd name="connsiteX1203" fmla="*/ 4232270 w 4940931"/>
                <a:gd name="connsiteY1203" fmla="*/ 52069 h 138429"/>
                <a:gd name="connsiteX1204" fmla="*/ 4239890 w 4940931"/>
                <a:gd name="connsiteY1204" fmla="*/ 39369 h 138429"/>
                <a:gd name="connsiteX1205" fmla="*/ 4250685 w 4940931"/>
                <a:gd name="connsiteY1205" fmla="*/ 31114 h 138429"/>
                <a:gd name="connsiteX1206" fmla="*/ 4264655 w 4940931"/>
                <a:gd name="connsiteY1206" fmla="*/ 28574 h 138429"/>
                <a:gd name="connsiteX1207" fmla="*/ 1420495 w 4940931"/>
                <a:gd name="connsiteY1207" fmla="*/ 28574 h 138429"/>
                <a:gd name="connsiteX1208" fmla="*/ 1434465 w 4940931"/>
                <a:gd name="connsiteY1208" fmla="*/ 31749 h 138429"/>
                <a:gd name="connsiteX1209" fmla="*/ 1445260 w 4940931"/>
                <a:gd name="connsiteY1209" fmla="*/ 40004 h 138429"/>
                <a:gd name="connsiteX1210" fmla="*/ 1452245 w 4940931"/>
                <a:gd name="connsiteY1210" fmla="*/ 52704 h 138429"/>
                <a:gd name="connsiteX1211" fmla="*/ 1454785 w 4940931"/>
                <a:gd name="connsiteY1211" fmla="*/ 69214 h 138429"/>
                <a:gd name="connsiteX1212" fmla="*/ 1455420 w 4940931"/>
                <a:gd name="connsiteY1212" fmla="*/ 69214 h 138429"/>
                <a:gd name="connsiteX1213" fmla="*/ 1452880 w 4940931"/>
                <a:gd name="connsiteY1213" fmla="*/ 86359 h 138429"/>
                <a:gd name="connsiteX1214" fmla="*/ 1445260 w 4940931"/>
                <a:gd name="connsiteY1214" fmla="*/ 99059 h 138429"/>
                <a:gd name="connsiteX1215" fmla="*/ 1433830 w 4940931"/>
                <a:gd name="connsiteY1215" fmla="*/ 107314 h 138429"/>
                <a:gd name="connsiteX1216" fmla="*/ 1419860 w 4940931"/>
                <a:gd name="connsiteY1216" fmla="*/ 109854 h 138429"/>
                <a:gd name="connsiteX1217" fmla="*/ 1405890 w 4940931"/>
                <a:gd name="connsiteY1217" fmla="*/ 106679 h 138429"/>
                <a:gd name="connsiteX1218" fmla="*/ 1395095 w 4940931"/>
                <a:gd name="connsiteY1218" fmla="*/ 98424 h 138429"/>
                <a:gd name="connsiteX1219" fmla="*/ 1388110 w 4940931"/>
                <a:gd name="connsiteY1219" fmla="*/ 85724 h 138429"/>
                <a:gd name="connsiteX1220" fmla="*/ 1385570 w 4940931"/>
                <a:gd name="connsiteY1220" fmla="*/ 69214 h 138429"/>
                <a:gd name="connsiteX1221" fmla="*/ 1388110 w 4940931"/>
                <a:gd name="connsiteY1221" fmla="*/ 52069 h 138429"/>
                <a:gd name="connsiteX1222" fmla="*/ 1395730 w 4940931"/>
                <a:gd name="connsiteY1222" fmla="*/ 39369 h 138429"/>
                <a:gd name="connsiteX1223" fmla="*/ 1406525 w 4940931"/>
                <a:gd name="connsiteY1223" fmla="*/ 31114 h 138429"/>
                <a:gd name="connsiteX1224" fmla="*/ 1420495 w 4940931"/>
                <a:gd name="connsiteY1224" fmla="*/ 28574 h 138429"/>
                <a:gd name="connsiteX1225" fmla="*/ 3143245 w 4940931"/>
                <a:gd name="connsiteY1225" fmla="*/ 5079 h 138429"/>
                <a:gd name="connsiteX1226" fmla="*/ 3219445 w 4940931"/>
                <a:gd name="connsiteY1226" fmla="*/ 5079 h 138429"/>
                <a:gd name="connsiteX1227" fmla="*/ 3219445 w 4940931"/>
                <a:gd name="connsiteY1227" fmla="*/ 20319 h 138429"/>
                <a:gd name="connsiteX1228" fmla="*/ 3188965 w 4940931"/>
                <a:gd name="connsiteY1228" fmla="*/ 20319 h 138429"/>
                <a:gd name="connsiteX1229" fmla="*/ 3188965 w 4940931"/>
                <a:gd name="connsiteY1229" fmla="*/ 108584 h 138429"/>
                <a:gd name="connsiteX1230" fmla="*/ 3173090 w 4940931"/>
                <a:gd name="connsiteY1230" fmla="*/ 108584 h 138429"/>
                <a:gd name="connsiteX1231" fmla="*/ 3173090 w 4940931"/>
                <a:gd name="connsiteY1231" fmla="*/ 20319 h 138429"/>
                <a:gd name="connsiteX1232" fmla="*/ 3143245 w 4940931"/>
                <a:gd name="connsiteY1232" fmla="*/ 20319 h 138429"/>
                <a:gd name="connsiteX1233" fmla="*/ 1628774 w 4940931"/>
                <a:gd name="connsiteY1233" fmla="*/ 5079 h 138429"/>
                <a:gd name="connsiteX1234" fmla="*/ 1704970 w 4940931"/>
                <a:gd name="connsiteY1234" fmla="*/ 5079 h 138429"/>
                <a:gd name="connsiteX1235" fmla="*/ 1704970 w 4940931"/>
                <a:gd name="connsiteY1235" fmla="*/ 20319 h 138429"/>
                <a:gd name="connsiteX1236" fmla="*/ 1675129 w 4940931"/>
                <a:gd name="connsiteY1236" fmla="*/ 20319 h 138429"/>
                <a:gd name="connsiteX1237" fmla="*/ 1675129 w 4940931"/>
                <a:gd name="connsiteY1237" fmla="*/ 108584 h 138429"/>
                <a:gd name="connsiteX1238" fmla="*/ 1659255 w 4940931"/>
                <a:gd name="connsiteY1238" fmla="*/ 108584 h 138429"/>
                <a:gd name="connsiteX1239" fmla="*/ 1659255 w 4940931"/>
                <a:gd name="connsiteY1239" fmla="*/ 20319 h 138429"/>
                <a:gd name="connsiteX1240" fmla="*/ 1628774 w 4940931"/>
                <a:gd name="connsiteY1240" fmla="*/ 20319 h 138429"/>
                <a:gd name="connsiteX1241" fmla="*/ 0 w 4940931"/>
                <a:gd name="connsiteY1241" fmla="*/ 5079 h 138429"/>
                <a:gd name="connsiteX1242" fmla="*/ 76200 w 4940931"/>
                <a:gd name="connsiteY1242" fmla="*/ 5079 h 138429"/>
                <a:gd name="connsiteX1243" fmla="*/ 76200 w 4940931"/>
                <a:gd name="connsiteY1243" fmla="*/ 20319 h 138429"/>
                <a:gd name="connsiteX1244" fmla="*/ 45720 w 4940931"/>
                <a:gd name="connsiteY1244" fmla="*/ 20319 h 138429"/>
                <a:gd name="connsiteX1245" fmla="*/ 45720 w 4940931"/>
                <a:gd name="connsiteY1245" fmla="*/ 108584 h 138429"/>
                <a:gd name="connsiteX1246" fmla="*/ 29845 w 4940931"/>
                <a:gd name="connsiteY1246" fmla="*/ 108584 h 138429"/>
                <a:gd name="connsiteX1247" fmla="*/ 29845 w 4940931"/>
                <a:gd name="connsiteY1247" fmla="*/ 20319 h 138429"/>
                <a:gd name="connsiteX1248" fmla="*/ 0 w 4940931"/>
                <a:gd name="connsiteY1248" fmla="*/ 20319 h 138429"/>
                <a:gd name="connsiteX1249" fmla="*/ 1362075 w 4940931"/>
                <a:gd name="connsiteY1249" fmla="*/ 1269 h 138429"/>
                <a:gd name="connsiteX1250" fmla="*/ 1365885 w 4940931"/>
                <a:gd name="connsiteY1250" fmla="*/ 1904 h 138429"/>
                <a:gd name="connsiteX1251" fmla="*/ 1369060 w 4940931"/>
                <a:gd name="connsiteY1251" fmla="*/ 3809 h 138429"/>
                <a:gd name="connsiteX1252" fmla="*/ 1370965 w 4940931"/>
                <a:gd name="connsiteY1252" fmla="*/ 6984 h 138429"/>
                <a:gd name="connsiteX1253" fmla="*/ 1371600 w 4940931"/>
                <a:gd name="connsiteY1253" fmla="*/ 10794 h 138429"/>
                <a:gd name="connsiteX1254" fmla="*/ 1370965 w 4940931"/>
                <a:gd name="connsiteY1254" fmla="*/ 14604 h 138429"/>
                <a:gd name="connsiteX1255" fmla="*/ 1369060 w 4940931"/>
                <a:gd name="connsiteY1255" fmla="*/ 17779 h 138429"/>
                <a:gd name="connsiteX1256" fmla="*/ 1365885 w 4940931"/>
                <a:gd name="connsiteY1256" fmla="*/ 19684 h 138429"/>
                <a:gd name="connsiteX1257" fmla="*/ 1362075 w 4940931"/>
                <a:gd name="connsiteY1257" fmla="*/ 20319 h 138429"/>
                <a:gd name="connsiteX1258" fmla="*/ 1358265 w 4940931"/>
                <a:gd name="connsiteY1258" fmla="*/ 19684 h 138429"/>
                <a:gd name="connsiteX1259" fmla="*/ 1355090 w 4940931"/>
                <a:gd name="connsiteY1259" fmla="*/ 17779 h 138429"/>
                <a:gd name="connsiteX1260" fmla="*/ 1353185 w 4940931"/>
                <a:gd name="connsiteY1260" fmla="*/ 14604 h 138429"/>
                <a:gd name="connsiteX1261" fmla="*/ 1352550 w 4940931"/>
                <a:gd name="connsiteY1261" fmla="*/ 10794 h 138429"/>
                <a:gd name="connsiteX1262" fmla="*/ 1353185 w 4940931"/>
                <a:gd name="connsiteY1262" fmla="*/ 6984 h 138429"/>
                <a:gd name="connsiteX1263" fmla="*/ 1355090 w 4940931"/>
                <a:gd name="connsiteY1263" fmla="*/ 3809 h 138429"/>
                <a:gd name="connsiteX1264" fmla="*/ 1358265 w 4940931"/>
                <a:gd name="connsiteY1264" fmla="*/ 1904 h 138429"/>
                <a:gd name="connsiteX1265" fmla="*/ 1362075 w 4940931"/>
                <a:gd name="connsiteY1265" fmla="*/ 1269 h 138429"/>
                <a:gd name="connsiteX1266" fmla="*/ 4789801 w 4940931"/>
                <a:gd name="connsiteY1266" fmla="*/ 634 h 138429"/>
                <a:gd name="connsiteX1267" fmla="*/ 4789801 w 4940931"/>
                <a:gd name="connsiteY1267" fmla="*/ 65404 h 138429"/>
                <a:gd name="connsiteX1268" fmla="*/ 4814566 w 4940931"/>
                <a:gd name="connsiteY1268" fmla="*/ 31114 h 138429"/>
                <a:gd name="connsiteX1269" fmla="*/ 4831711 w 4940931"/>
                <a:gd name="connsiteY1269" fmla="*/ 31114 h 138429"/>
                <a:gd name="connsiteX1270" fmla="*/ 4812026 w 4940931"/>
                <a:gd name="connsiteY1270" fmla="*/ 57149 h 138429"/>
                <a:gd name="connsiteX1271" fmla="*/ 4835521 w 4940931"/>
                <a:gd name="connsiteY1271" fmla="*/ 108584 h 138429"/>
                <a:gd name="connsiteX1272" fmla="*/ 4819011 w 4940931"/>
                <a:gd name="connsiteY1272" fmla="*/ 108584 h 138429"/>
                <a:gd name="connsiteX1273" fmla="*/ 4801866 w 4940931"/>
                <a:gd name="connsiteY1273" fmla="*/ 69849 h 138429"/>
                <a:gd name="connsiteX1274" fmla="*/ 4789801 w 4940931"/>
                <a:gd name="connsiteY1274" fmla="*/ 85724 h 138429"/>
                <a:gd name="connsiteX1275" fmla="*/ 4789801 w 4940931"/>
                <a:gd name="connsiteY1275" fmla="*/ 108584 h 138429"/>
                <a:gd name="connsiteX1276" fmla="*/ 4774561 w 4940931"/>
                <a:gd name="connsiteY1276" fmla="*/ 108584 h 138429"/>
                <a:gd name="connsiteX1277" fmla="*/ 4774561 w 4940931"/>
                <a:gd name="connsiteY1277" fmla="*/ 8889 h 138429"/>
                <a:gd name="connsiteX1278" fmla="*/ 4472301 w 4940931"/>
                <a:gd name="connsiteY1278" fmla="*/ 634 h 138429"/>
                <a:gd name="connsiteX1279" fmla="*/ 4472301 w 4940931"/>
                <a:gd name="connsiteY1279" fmla="*/ 109219 h 138429"/>
                <a:gd name="connsiteX1280" fmla="*/ 4457061 w 4940931"/>
                <a:gd name="connsiteY1280" fmla="*/ 109219 h 138429"/>
                <a:gd name="connsiteX1281" fmla="*/ 4457696 w 4940931"/>
                <a:gd name="connsiteY1281" fmla="*/ 108584 h 138429"/>
                <a:gd name="connsiteX1282" fmla="*/ 4457696 w 4940931"/>
                <a:gd name="connsiteY1282" fmla="*/ 100964 h 138429"/>
                <a:gd name="connsiteX1283" fmla="*/ 4453251 w 4940931"/>
                <a:gd name="connsiteY1283" fmla="*/ 104774 h 138429"/>
                <a:gd name="connsiteX1284" fmla="*/ 4448171 w 4940931"/>
                <a:gd name="connsiteY1284" fmla="*/ 107949 h 138429"/>
                <a:gd name="connsiteX1285" fmla="*/ 4443091 w 4940931"/>
                <a:gd name="connsiteY1285" fmla="*/ 109854 h 138429"/>
                <a:gd name="connsiteX1286" fmla="*/ 4437376 w 4940931"/>
                <a:gd name="connsiteY1286" fmla="*/ 109854 h 138429"/>
                <a:gd name="connsiteX1287" fmla="*/ 4425946 w 4940931"/>
                <a:gd name="connsiteY1287" fmla="*/ 107314 h 138429"/>
                <a:gd name="connsiteX1288" fmla="*/ 4416421 w 4940931"/>
                <a:gd name="connsiteY1288" fmla="*/ 99694 h 138429"/>
                <a:gd name="connsiteX1289" fmla="*/ 4410071 w 4940931"/>
                <a:gd name="connsiteY1289" fmla="*/ 86994 h 138429"/>
                <a:gd name="connsiteX1290" fmla="*/ 4407531 w 4940931"/>
                <a:gd name="connsiteY1290" fmla="*/ 67944 h 138429"/>
                <a:gd name="connsiteX1291" fmla="*/ 4410071 w 4940931"/>
                <a:gd name="connsiteY1291" fmla="*/ 50799 h 138429"/>
                <a:gd name="connsiteX1292" fmla="*/ 4417056 w 4940931"/>
                <a:gd name="connsiteY1292" fmla="*/ 38734 h 138429"/>
                <a:gd name="connsiteX1293" fmla="*/ 4426581 w 4940931"/>
                <a:gd name="connsiteY1293" fmla="*/ 31749 h 138429"/>
                <a:gd name="connsiteX1294" fmla="*/ 4438011 w 4940931"/>
                <a:gd name="connsiteY1294" fmla="*/ 29209 h 138429"/>
                <a:gd name="connsiteX1295" fmla="*/ 4443726 w 4940931"/>
                <a:gd name="connsiteY1295" fmla="*/ 29844 h 138429"/>
                <a:gd name="connsiteX1296" fmla="*/ 4448806 w 4940931"/>
                <a:gd name="connsiteY1296" fmla="*/ 31749 h 138429"/>
                <a:gd name="connsiteX1297" fmla="*/ 4453251 w 4940931"/>
                <a:gd name="connsiteY1297" fmla="*/ 34924 h 138429"/>
                <a:gd name="connsiteX1298" fmla="*/ 4457061 w 4940931"/>
                <a:gd name="connsiteY1298" fmla="*/ 38099 h 138429"/>
                <a:gd name="connsiteX1299" fmla="*/ 4457061 w 4940931"/>
                <a:gd name="connsiteY1299" fmla="*/ 8254 h 138429"/>
                <a:gd name="connsiteX1300" fmla="*/ 4390385 w 4940931"/>
                <a:gd name="connsiteY1300" fmla="*/ 634 h 138429"/>
                <a:gd name="connsiteX1301" fmla="*/ 4390385 w 4940931"/>
                <a:gd name="connsiteY1301" fmla="*/ 108584 h 138429"/>
                <a:gd name="connsiteX1302" fmla="*/ 4375145 w 4940931"/>
                <a:gd name="connsiteY1302" fmla="*/ 108584 h 138429"/>
                <a:gd name="connsiteX1303" fmla="*/ 4375145 w 4940931"/>
                <a:gd name="connsiteY1303" fmla="*/ 8889 h 138429"/>
                <a:gd name="connsiteX1304" fmla="*/ 3946521 w 4940931"/>
                <a:gd name="connsiteY1304" fmla="*/ 634 h 138429"/>
                <a:gd name="connsiteX1305" fmla="*/ 3946521 w 4940931"/>
                <a:gd name="connsiteY1305" fmla="*/ 38099 h 138429"/>
                <a:gd name="connsiteX1306" fmla="*/ 3950331 w 4940931"/>
                <a:gd name="connsiteY1306" fmla="*/ 34289 h 138429"/>
                <a:gd name="connsiteX1307" fmla="*/ 3954776 w 4940931"/>
                <a:gd name="connsiteY1307" fmla="*/ 31114 h 138429"/>
                <a:gd name="connsiteX1308" fmla="*/ 3960491 w 4940931"/>
                <a:gd name="connsiteY1308" fmla="*/ 29209 h 138429"/>
                <a:gd name="connsiteX1309" fmla="*/ 3966206 w 4940931"/>
                <a:gd name="connsiteY1309" fmla="*/ 29209 h 138429"/>
                <a:gd name="connsiteX1310" fmla="*/ 3978271 w 4940931"/>
                <a:gd name="connsiteY1310" fmla="*/ 31749 h 138429"/>
                <a:gd name="connsiteX1311" fmla="*/ 3987161 w 4940931"/>
                <a:gd name="connsiteY1311" fmla="*/ 38099 h 138429"/>
                <a:gd name="connsiteX1312" fmla="*/ 3992241 w 4940931"/>
                <a:gd name="connsiteY1312" fmla="*/ 49529 h 138429"/>
                <a:gd name="connsiteX1313" fmla="*/ 3994146 w 4940931"/>
                <a:gd name="connsiteY1313" fmla="*/ 64134 h 138429"/>
                <a:gd name="connsiteX1314" fmla="*/ 3994146 w 4940931"/>
                <a:gd name="connsiteY1314" fmla="*/ 108584 h 138429"/>
                <a:gd name="connsiteX1315" fmla="*/ 3978906 w 4940931"/>
                <a:gd name="connsiteY1315" fmla="*/ 108584 h 138429"/>
                <a:gd name="connsiteX1316" fmla="*/ 3978271 w 4940931"/>
                <a:gd name="connsiteY1316" fmla="*/ 108584 h 138429"/>
                <a:gd name="connsiteX1317" fmla="*/ 3978271 w 4940931"/>
                <a:gd name="connsiteY1317" fmla="*/ 64769 h 138429"/>
                <a:gd name="connsiteX1318" fmla="*/ 3974461 w 4940931"/>
                <a:gd name="connsiteY1318" fmla="*/ 48894 h 138429"/>
                <a:gd name="connsiteX1319" fmla="*/ 3962396 w 4940931"/>
                <a:gd name="connsiteY1319" fmla="*/ 43814 h 138429"/>
                <a:gd name="connsiteX1320" fmla="*/ 3956046 w 4940931"/>
                <a:gd name="connsiteY1320" fmla="*/ 45084 h 138429"/>
                <a:gd name="connsiteX1321" fmla="*/ 3950966 w 4940931"/>
                <a:gd name="connsiteY1321" fmla="*/ 48894 h 138429"/>
                <a:gd name="connsiteX1322" fmla="*/ 3947791 w 4940931"/>
                <a:gd name="connsiteY1322" fmla="*/ 55244 h 138429"/>
                <a:gd name="connsiteX1323" fmla="*/ 3946521 w 4940931"/>
                <a:gd name="connsiteY1323" fmla="*/ 63499 h 138429"/>
                <a:gd name="connsiteX1324" fmla="*/ 3946521 w 4940931"/>
                <a:gd name="connsiteY1324" fmla="*/ 109219 h 138429"/>
                <a:gd name="connsiteX1325" fmla="*/ 3931281 w 4940931"/>
                <a:gd name="connsiteY1325" fmla="*/ 109219 h 138429"/>
                <a:gd name="connsiteX1326" fmla="*/ 3931281 w 4940931"/>
                <a:gd name="connsiteY1326" fmla="*/ 8889 h 138429"/>
                <a:gd name="connsiteX1327" fmla="*/ 3248021 w 4940931"/>
                <a:gd name="connsiteY1327" fmla="*/ 634 h 138429"/>
                <a:gd name="connsiteX1328" fmla="*/ 3248021 w 4940931"/>
                <a:gd name="connsiteY1328" fmla="*/ 38099 h 138429"/>
                <a:gd name="connsiteX1329" fmla="*/ 3251831 w 4940931"/>
                <a:gd name="connsiteY1329" fmla="*/ 34289 h 138429"/>
                <a:gd name="connsiteX1330" fmla="*/ 3256276 w 4940931"/>
                <a:gd name="connsiteY1330" fmla="*/ 31114 h 138429"/>
                <a:gd name="connsiteX1331" fmla="*/ 3261991 w 4940931"/>
                <a:gd name="connsiteY1331" fmla="*/ 29209 h 138429"/>
                <a:gd name="connsiteX1332" fmla="*/ 3267706 w 4940931"/>
                <a:gd name="connsiteY1332" fmla="*/ 29209 h 138429"/>
                <a:gd name="connsiteX1333" fmla="*/ 3279771 w 4940931"/>
                <a:gd name="connsiteY1333" fmla="*/ 31749 h 138429"/>
                <a:gd name="connsiteX1334" fmla="*/ 3288661 w 4940931"/>
                <a:gd name="connsiteY1334" fmla="*/ 38099 h 138429"/>
                <a:gd name="connsiteX1335" fmla="*/ 3293741 w 4940931"/>
                <a:gd name="connsiteY1335" fmla="*/ 49529 h 138429"/>
                <a:gd name="connsiteX1336" fmla="*/ 3295646 w 4940931"/>
                <a:gd name="connsiteY1336" fmla="*/ 64134 h 138429"/>
                <a:gd name="connsiteX1337" fmla="*/ 3295646 w 4940931"/>
                <a:gd name="connsiteY1337" fmla="*/ 108584 h 138429"/>
                <a:gd name="connsiteX1338" fmla="*/ 3280406 w 4940931"/>
                <a:gd name="connsiteY1338" fmla="*/ 108584 h 138429"/>
                <a:gd name="connsiteX1339" fmla="*/ 3279771 w 4940931"/>
                <a:gd name="connsiteY1339" fmla="*/ 108584 h 138429"/>
                <a:gd name="connsiteX1340" fmla="*/ 3279771 w 4940931"/>
                <a:gd name="connsiteY1340" fmla="*/ 64769 h 138429"/>
                <a:gd name="connsiteX1341" fmla="*/ 3275961 w 4940931"/>
                <a:gd name="connsiteY1341" fmla="*/ 48894 h 138429"/>
                <a:gd name="connsiteX1342" fmla="*/ 3263896 w 4940931"/>
                <a:gd name="connsiteY1342" fmla="*/ 43814 h 138429"/>
                <a:gd name="connsiteX1343" fmla="*/ 3257546 w 4940931"/>
                <a:gd name="connsiteY1343" fmla="*/ 45084 h 138429"/>
                <a:gd name="connsiteX1344" fmla="*/ 3252466 w 4940931"/>
                <a:gd name="connsiteY1344" fmla="*/ 48894 h 138429"/>
                <a:gd name="connsiteX1345" fmla="*/ 3249291 w 4940931"/>
                <a:gd name="connsiteY1345" fmla="*/ 55244 h 138429"/>
                <a:gd name="connsiteX1346" fmla="*/ 3248021 w 4940931"/>
                <a:gd name="connsiteY1346" fmla="*/ 63499 h 138429"/>
                <a:gd name="connsiteX1347" fmla="*/ 3248021 w 4940931"/>
                <a:gd name="connsiteY1347" fmla="*/ 109219 h 138429"/>
                <a:gd name="connsiteX1348" fmla="*/ 3232781 w 4940931"/>
                <a:gd name="connsiteY1348" fmla="*/ 109219 h 138429"/>
                <a:gd name="connsiteX1349" fmla="*/ 3232781 w 4940931"/>
                <a:gd name="connsiteY1349" fmla="*/ 8889 h 138429"/>
                <a:gd name="connsiteX1350" fmla="*/ 2432681 w 4940931"/>
                <a:gd name="connsiteY1350" fmla="*/ 634 h 138429"/>
                <a:gd name="connsiteX1351" fmla="*/ 2432681 w 4940931"/>
                <a:gd name="connsiteY1351" fmla="*/ 38099 h 138429"/>
                <a:gd name="connsiteX1352" fmla="*/ 2436491 w 4940931"/>
                <a:gd name="connsiteY1352" fmla="*/ 34289 h 138429"/>
                <a:gd name="connsiteX1353" fmla="*/ 2440936 w 4940931"/>
                <a:gd name="connsiteY1353" fmla="*/ 31114 h 138429"/>
                <a:gd name="connsiteX1354" fmla="*/ 2446651 w 4940931"/>
                <a:gd name="connsiteY1354" fmla="*/ 29209 h 138429"/>
                <a:gd name="connsiteX1355" fmla="*/ 2452366 w 4940931"/>
                <a:gd name="connsiteY1355" fmla="*/ 29209 h 138429"/>
                <a:gd name="connsiteX1356" fmla="*/ 2464431 w 4940931"/>
                <a:gd name="connsiteY1356" fmla="*/ 31749 h 138429"/>
                <a:gd name="connsiteX1357" fmla="*/ 2473321 w 4940931"/>
                <a:gd name="connsiteY1357" fmla="*/ 38099 h 138429"/>
                <a:gd name="connsiteX1358" fmla="*/ 2478401 w 4940931"/>
                <a:gd name="connsiteY1358" fmla="*/ 49529 h 138429"/>
                <a:gd name="connsiteX1359" fmla="*/ 2480306 w 4940931"/>
                <a:gd name="connsiteY1359" fmla="*/ 64134 h 138429"/>
                <a:gd name="connsiteX1360" fmla="*/ 2480306 w 4940931"/>
                <a:gd name="connsiteY1360" fmla="*/ 108584 h 138429"/>
                <a:gd name="connsiteX1361" fmla="*/ 2465066 w 4940931"/>
                <a:gd name="connsiteY1361" fmla="*/ 108584 h 138429"/>
                <a:gd name="connsiteX1362" fmla="*/ 2464431 w 4940931"/>
                <a:gd name="connsiteY1362" fmla="*/ 108584 h 138429"/>
                <a:gd name="connsiteX1363" fmla="*/ 2464431 w 4940931"/>
                <a:gd name="connsiteY1363" fmla="*/ 64769 h 138429"/>
                <a:gd name="connsiteX1364" fmla="*/ 2460621 w 4940931"/>
                <a:gd name="connsiteY1364" fmla="*/ 48894 h 138429"/>
                <a:gd name="connsiteX1365" fmla="*/ 2448556 w 4940931"/>
                <a:gd name="connsiteY1365" fmla="*/ 43814 h 138429"/>
                <a:gd name="connsiteX1366" fmla="*/ 2442206 w 4940931"/>
                <a:gd name="connsiteY1366" fmla="*/ 45084 h 138429"/>
                <a:gd name="connsiteX1367" fmla="*/ 2437126 w 4940931"/>
                <a:gd name="connsiteY1367" fmla="*/ 48894 h 138429"/>
                <a:gd name="connsiteX1368" fmla="*/ 2433951 w 4940931"/>
                <a:gd name="connsiteY1368" fmla="*/ 55244 h 138429"/>
                <a:gd name="connsiteX1369" fmla="*/ 2432681 w 4940931"/>
                <a:gd name="connsiteY1369" fmla="*/ 63499 h 138429"/>
                <a:gd name="connsiteX1370" fmla="*/ 2432681 w 4940931"/>
                <a:gd name="connsiteY1370" fmla="*/ 109219 h 138429"/>
                <a:gd name="connsiteX1371" fmla="*/ 2417441 w 4940931"/>
                <a:gd name="connsiteY1371" fmla="*/ 109219 h 138429"/>
                <a:gd name="connsiteX1372" fmla="*/ 2417441 w 4940931"/>
                <a:gd name="connsiteY1372" fmla="*/ 8889 h 138429"/>
                <a:gd name="connsiteX1373" fmla="*/ 1734181 w 4940931"/>
                <a:gd name="connsiteY1373" fmla="*/ 634 h 138429"/>
                <a:gd name="connsiteX1374" fmla="*/ 1734181 w 4940931"/>
                <a:gd name="connsiteY1374" fmla="*/ 38099 h 138429"/>
                <a:gd name="connsiteX1375" fmla="*/ 1737991 w 4940931"/>
                <a:gd name="connsiteY1375" fmla="*/ 34289 h 138429"/>
                <a:gd name="connsiteX1376" fmla="*/ 1742436 w 4940931"/>
                <a:gd name="connsiteY1376" fmla="*/ 31114 h 138429"/>
                <a:gd name="connsiteX1377" fmla="*/ 1748151 w 4940931"/>
                <a:gd name="connsiteY1377" fmla="*/ 29209 h 138429"/>
                <a:gd name="connsiteX1378" fmla="*/ 1753866 w 4940931"/>
                <a:gd name="connsiteY1378" fmla="*/ 29209 h 138429"/>
                <a:gd name="connsiteX1379" fmla="*/ 1765931 w 4940931"/>
                <a:gd name="connsiteY1379" fmla="*/ 31749 h 138429"/>
                <a:gd name="connsiteX1380" fmla="*/ 1774821 w 4940931"/>
                <a:gd name="connsiteY1380" fmla="*/ 38099 h 138429"/>
                <a:gd name="connsiteX1381" fmla="*/ 1779901 w 4940931"/>
                <a:gd name="connsiteY1381" fmla="*/ 49529 h 138429"/>
                <a:gd name="connsiteX1382" fmla="*/ 1781806 w 4940931"/>
                <a:gd name="connsiteY1382" fmla="*/ 64134 h 138429"/>
                <a:gd name="connsiteX1383" fmla="*/ 1781806 w 4940931"/>
                <a:gd name="connsiteY1383" fmla="*/ 108584 h 138429"/>
                <a:gd name="connsiteX1384" fmla="*/ 1766566 w 4940931"/>
                <a:gd name="connsiteY1384" fmla="*/ 108584 h 138429"/>
                <a:gd name="connsiteX1385" fmla="*/ 1765931 w 4940931"/>
                <a:gd name="connsiteY1385" fmla="*/ 108584 h 138429"/>
                <a:gd name="connsiteX1386" fmla="*/ 1765931 w 4940931"/>
                <a:gd name="connsiteY1386" fmla="*/ 64769 h 138429"/>
                <a:gd name="connsiteX1387" fmla="*/ 1762121 w 4940931"/>
                <a:gd name="connsiteY1387" fmla="*/ 48894 h 138429"/>
                <a:gd name="connsiteX1388" fmla="*/ 1750056 w 4940931"/>
                <a:gd name="connsiteY1388" fmla="*/ 43814 h 138429"/>
                <a:gd name="connsiteX1389" fmla="*/ 1743706 w 4940931"/>
                <a:gd name="connsiteY1389" fmla="*/ 45084 h 138429"/>
                <a:gd name="connsiteX1390" fmla="*/ 1738626 w 4940931"/>
                <a:gd name="connsiteY1390" fmla="*/ 48894 h 138429"/>
                <a:gd name="connsiteX1391" fmla="*/ 1735451 w 4940931"/>
                <a:gd name="connsiteY1391" fmla="*/ 55244 h 138429"/>
                <a:gd name="connsiteX1392" fmla="*/ 1734181 w 4940931"/>
                <a:gd name="connsiteY1392" fmla="*/ 63499 h 138429"/>
                <a:gd name="connsiteX1393" fmla="*/ 1734181 w 4940931"/>
                <a:gd name="connsiteY1393" fmla="*/ 109219 h 138429"/>
                <a:gd name="connsiteX1394" fmla="*/ 1718941 w 4940931"/>
                <a:gd name="connsiteY1394" fmla="*/ 109219 h 138429"/>
                <a:gd name="connsiteX1395" fmla="*/ 1718941 w 4940931"/>
                <a:gd name="connsiteY1395" fmla="*/ 8889 h 138429"/>
                <a:gd name="connsiteX1396" fmla="*/ 803275 w 4940931"/>
                <a:gd name="connsiteY1396" fmla="*/ 634 h 138429"/>
                <a:gd name="connsiteX1397" fmla="*/ 803275 w 4940931"/>
                <a:gd name="connsiteY1397" fmla="*/ 38099 h 138429"/>
                <a:gd name="connsiteX1398" fmla="*/ 807085 w 4940931"/>
                <a:gd name="connsiteY1398" fmla="*/ 34289 h 138429"/>
                <a:gd name="connsiteX1399" fmla="*/ 811530 w 4940931"/>
                <a:gd name="connsiteY1399" fmla="*/ 31114 h 138429"/>
                <a:gd name="connsiteX1400" fmla="*/ 817245 w 4940931"/>
                <a:gd name="connsiteY1400" fmla="*/ 29209 h 138429"/>
                <a:gd name="connsiteX1401" fmla="*/ 822960 w 4940931"/>
                <a:gd name="connsiteY1401" fmla="*/ 29209 h 138429"/>
                <a:gd name="connsiteX1402" fmla="*/ 835025 w 4940931"/>
                <a:gd name="connsiteY1402" fmla="*/ 31749 h 138429"/>
                <a:gd name="connsiteX1403" fmla="*/ 843915 w 4940931"/>
                <a:gd name="connsiteY1403" fmla="*/ 38099 h 138429"/>
                <a:gd name="connsiteX1404" fmla="*/ 848995 w 4940931"/>
                <a:gd name="connsiteY1404" fmla="*/ 49529 h 138429"/>
                <a:gd name="connsiteX1405" fmla="*/ 850900 w 4940931"/>
                <a:gd name="connsiteY1405" fmla="*/ 64134 h 138429"/>
                <a:gd name="connsiteX1406" fmla="*/ 850900 w 4940931"/>
                <a:gd name="connsiteY1406" fmla="*/ 108584 h 138429"/>
                <a:gd name="connsiteX1407" fmla="*/ 835660 w 4940931"/>
                <a:gd name="connsiteY1407" fmla="*/ 108584 h 138429"/>
                <a:gd name="connsiteX1408" fmla="*/ 835025 w 4940931"/>
                <a:gd name="connsiteY1408" fmla="*/ 108584 h 138429"/>
                <a:gd name="connsiteX1409" fmla="*/ 835025 w 4940931"/>
                <a:gd name="connsiteY1409" fmla="*/ 64769 h 138429"/>
                <a:gd name="connsiteX1410" fmla="*/ 831215 w 4940931"/>
                <a:gd name="connsiteY1410" fmla="*/ 48894 h 138429"/>
                <a:gd name="connsiteX1411" fmla="*/ 819150 w 4940931"/>
                <a:gd name="connsiteY1411" fmla="*/ 43814 h 138429"/>
                <a:gd name="connsiteX1412" fmla="*/ 812800 w 4940931"/>
                <a:gd name="connsiteY1412" fmla="*/ 45084 h 138429"/>
                <a:gd name="connsiteX1413" fmla="*/ 807720 w 4940931"/>
                <a:gd name="connsiteY1413" fmla="*/ 48894 h 138429"/>
                <a:gd name="connsiteX1414" fmla="*/ 804545 w 4940931"/>
                <a:gd name="connsiteY1414" fmla="*/ 55244 h 138429"/>
                <a:gd name="connsiteX1415" fmla="*/ 803275 w 4940931"/>
                <a:gd name="connsiteY1415" fmla="*/ 63499 h 138429"/>
                <a:gd name="connsiteX1416" fmla="*/ 803275 w 4940931"/>
                <a:gd name="connsiteY1416" fmla="*/ 109219 h 138429"/>
                <a:gd name="connsiteX1417" fmla="*/ 788035 w 4940931"/>
                <a:gd name="connsiteY1417" fmla="*/ 109219 h 138429"/>
                <a:gd name="connsiteX1418" fmla="*/ 788035 w 4940931"/>
                <a:gd name="connsiteY1418" fmla="*/ 8889 h 138429"/>
                <a:gd name="connsiteX1419" fmla="*/ 104774 w 4940931"/>
                <a:gd name="connsiteY1419" fmla="*/ 634 h 138429"/>
                <a:gd name="connsiteX1420" fmla="*/ 104774 w 4940931"/>
                <a:gd name="connsiteY1420" fmla="*/ 38099 h 138429"/>
                <a:gd name="connsiteX1421" fmla="*/ 108584 w 4940931"/>
                <a:gd name="connsiteY1421" fmla="*/ 34289 h 138429"/>
                <a:gd name="connsiteX1422" fmla="*/ 113029 w 4940931"/>
                <a:gd name="connsiteY1422" fmla="*/ 31114 h 138429"/>
                <a:gd name="connsiteX1423" fmla="*/ 118744 w 4940931"/>
                <a:gd name="connsiteY1423" fmla="*/ 29209 h 138429"/>
                <a:gd name="connsiteX1424" fmla="*/ 124459 w 4940931"/>
                <a:gd name="connsiteY1424" fmla="*/ 29209 h 138429"/>
                <a:gd name="connsiteX1425" fmla="*/ 136524 w 4940931"/>
                <a:gd name="connsiteY1425" fmla="*/ 31749 h 138429"/>
                <a:gd name="connsiteX1426" fmla="*/ 145414 w 4940931"/>
                <a:gd name="connsiteY1426" fmla="*/ 38099 h 138429"/>
                <a:gd name="connsiteX1427" fmla="*/ 150494 w 4940931"/>
                <a:gd name="connsiteY1427" fmla="*/ 49529 h 138429"/>
                <a:gd name="connsiteX1428" fmla="*/ 152399 w 4940931"/>
                <a:gd name="connsiteY1428" fmla="*/ 64134 h 138429"/>
                <a:gd name="connsiteX1429" fmla="*/ 152399 w 4940931"/>
                <a:gd name="connsiteY1429" fmla="*/ 108584 h 138429"/>
                <a:gd name="connsiteX1430" fmla="*/ 137159 w 4940931"/>
                <a:gd name="connsiteY1430" fmla="*/ 108584 h 138429"/>
                <a:gd name="connsiteX1431" fmla="*/ 136524 w 4940931"/>
                <a:gd name="connsiteY1431" fmla="*/ 108584 h 138429"/>
                <a:gd name="connsiteX1432" fmla="*/ 136524 w 4940931"/>
                <a:gd name="connsiteY1432" fmla="*/ 64769 h 138429"/>
                <a:gd name="connsiteX1433" fmla="*/ 132714 w 4940931"/>
                <a:gd name="connsiteY1433" fmla="*/ 48894 h 138429"/>
                <a:gd name="connsiteX1434" fmla="*/ 120649 w 4940931"/>
                <a:gd name="connsiteY1434" fmla="*/ 43814 h 138429"/>
                <a:gd name="connsiteX1435" fmla="*/ 114299 w 4940931"/>
                <a:gd name="connsiteY1435" fmla="*/ 45084 h 138429"/>
                <a:gd name="connsiteX1436" fmla="*/ 109219 w 4940931"/>
                <a:gd name="connsiteY1436" fmla="*/ 48894 h 138429"/>
                <a:gd name="connsiteX1437" fmla="*/ 106044 w 4940931"/>
                <a:gd name="connsiteY1437" fmla="*/ 55244 h 138429"/>
                <a:gd name="connsiteX1438" fmla="*/ 104774 w 4940931"/>
                <a:gd name="connsiteY1438" fmla="*/ 63499 h 138429"/>
                <a:gd name="connsiteX1439" fmla="*/ 104774 w 4940931"/>
                <a:gd name="connsiteY1439" fmla="*/ 109219 h 138429"/>
                <a:gd name="connsiteX1440" fmla="*/ 89534 w 4940931"/>
                <a:gd name="connsiteY1440" fmla="*/ 109219 h 138429"/>
                <a:gd name="connsiteX1441" fmla="*/ 89534 w 4940931"/>
                <a:gd name="connsiteY1441" fmla="*/ 8889 h 138429"/>
                <a:gd name="connsiteX1442" fmla="*/ 3894450 w 4940931"/>
                <a:gd name="connsiteY1442" fmla="*/ 0 h 138429"/>
                <a:gd name="connsiteX1443" fmla="*/ 3894450 w 4940931"/>
                <a:gd name="connsiteY1443" fmla="*/ 30480 h 138429"/>
                <a:gd name="connsiteX1444" fmla="*/ 3913500 w 4940931"/>
                <a:gd name="connsiteY1444" fmla="*/ 30480 h 138429"/>
                <a:gd name="connsiteX1445" fmla="*/ 3913500 w 4940931"/>
                <a:gd name="connsiteY1445" fmla="*/ 44450 h 138429"/>
                <a:gd name="connsiteX1446" fmla="*/ 3894450 w 4940931"/>
                <a:gd name="connsiteY1446" fmla="*/ 44450 h 138429"/>
                <a:gd name="connsiteX1447" fmla="*/ 3894450 w 4940931"/>
                <a:gd name="connsiteY1447" fmla="*/ 86995 h 138429"/>
                <a:gd name="connsiteX1448" fmla="*/ 3894450 w 4940931"/>
                <a:gd name="connsiteY1448" fmla="*/ 91440 h 138429"/>
                <a:gd name="connsiteX1449" fmla="*/ 3895720 w 4940931"/>
                <a:gd name="connsiteY1449" fmla="*/ 94615 h 138429"/>
                <a:gd name="connsiteX1450" fmla="*/ 3898260 w 4940931"/>
                <a:gd name="connsiteY1450" fmla="*/ 95885 h 138429"/>
                <a:gd name="connsiteX1451" fmla="*/ 3902070 w 4940931"/>
                <a:gd name="connsiteY1451" fmla="*/ 95885 h 138429"/>
                <a:gd name="connsiteX1452" fmla="*/ 3908420 w 4940931"/>
                <a:gd name="connsiteY1452" fmla="*/ 95250 h 138429"/>
                <a:gd name="connsiteX1453" fmla="*/ 3913500 w 4940931"/>
                <a:gd name="connsiteY1453" fmla="*/ 93345 h 138429"/>
                <a:gd name="connsiteX1454" fmla="*/ 3911595 w 4940931"/>
                <a:gd name="connsiteY1454" fmla="*/ 106680 h 138429"/>
                <a:gd name="connsiteX1455" fmla="*/ 3905245 w 4940931"/>
                <a:gd name="connsiteY1455" fmla="*/ 109220 h 138429"/>
                <a:gd name="connsiteX1456" fmla="*/ 3896990 w 4940931"/>
                <a:gd name="connsiteY1456" fmla="*/ 110490 h 138429"/>
                <a:gd name="connsiteX1457" fmla="*/ 3890005 w 4940931"/>
                <a:gd name="connsiteY1457" fmla="*/ 109220 h 138429"/>
                <a:gd name="connsiteX1458" fmla="*/ 3884290 w 4940931"/>
                <a:gd name="connsiteY1458" fmla="*/ 105410 h 138429"/>
                <a:gd name="connsiteX1459" fmla="*/ 3880480 w 4940931"/>
                <a:gd name="connsiteY1459" fmla="*/ 99060 h 138429"/>
                <a:gd name="connsiteX1460" fmla="*/ 3879210 w 4940931"/>
                <a:gd name="connsiteY1460" fmla="*/ 89535 h 138429"/>
                <a:gd name="connsiteX1461" fmla="*/ 3879210 w 4940931"/>
                <a:gd name="connsiteY1461" fmla="*/ 44450 h 138429"/>
                <a:gd name="connsiteX1462" fmla="*/ 3868415 w 4940931"/>
                <a:gd name="connsiteY1462" fmla="*/ 44450 h 138429"/>
                <a:gd name="connsiteX1463" fmla="*/ 3868415 w 4940931"/>
                <a:gd name="connsiteY1463" fmla="*/ 30480 h 138429"/>
                <a:gd name="connsiteX1464" fmla="*/ 3879210 w 4940931"/>
                <a:gd name="connsiteY1464" fmla="*/ 30480 h 138429"/>
                <a:gd name="connsiteX1465" fmla="*/ 3879210 w 4940931"/>
                <a:gd name="connsiteY1465" fmla="*/ 8255 h 138429"/>
                <a:gd name="connsiteX1466" fmla="*/ 3664581 w 4940931"/>
                <a:gd name="connsiteY1466" fmla="*/ 0 h 138429"/>
                <a:gd name="connsiteX1467" fmla="*/ 3664581 w 4940931"/>
                <a:gd name="connsiteY1467" fmla="*/ 30480 h 138429"/>
                <a:gd name="connsiteX1468" fmla="*/ 3683631 w 4940931"/>
                <a:gd name="connsiteY1468" fmla="*/ 30480 h 138429"/>
                <a:gd name="connsiteX1469" fmla="*/ 3683631 w 4940931"/>
                <a:gd name="connsiteY1469" fmla="*/ 44450 h 138429"/>
                <a:gd name="connsiteX1470" fmla="*/ 3664581 w 4940931"/>
                <a:gd name="connsiteY1470" fmla="*/ 44450 h 138429"/>
                <a:gd name="connsiteX1471" fmla="*/ 3664581 w 4940931"/>
                <a:gd name="connsiteY1471" fmla="*/ 86995 h 138429"/>
                <a:gd name="connsiteX1472" fmla="*/ 3664581 w 4940931"/>
                <a:gd name="connsiteY1472" fmla="*/ 91440 h 138429"/>
                <a:gd name="connsiteX1473" fmla="*/ 3665851 w 4940931"/>
                <a:gd name="connsiteY1473" fmla="*/ 94615 h 138429"/>
                <a:gd name="connsiteX1474" fmla="*/ 3668391 w 4940931"/>
                <a:gd name="connsiteY1474" fmla="*/ 95885 h 138429"/>
                <a:gd name="connsiteX1475" fmla="*/ 3672201 w 4940931"/>
                <a:gd name="connsiteY1475" fmla="*/ 95885 h 138429"/>
                <a:gd name="connsiteX1476" fmla="*/ 3678551 w 4940931"/>
                <a:gd name="connsiteY1476" fmla="*/ 95250 h 138429"/>
                <a:gd name="connsiteX1477" fmla="*/ 3683631 w 4940931"/>
                <a:gd name="connsiteY1477" fmla="*/ 93345 h 138429"/>
                <a:gd name="connsiteX1478" fmla="*/ 3681726 w 4940931"/>
                <a:gd name="connsiteY1478" fmla="*/ 106680 h 138429"/>
                <a:gd name="connsiteX1479" fmla="*/ 3675376 w 4940931"/>
                <a:gd name="connsiteY1479" fmla="*/ 109220 h 138429"/>
                <a:gd name="connsiteX1480" fmla="*/ 3667121 w 4940931"/>
                <a:gd name="connsiteY1480" fmla="*/ 110490 h 138429"/>
                <a:gd name="connsiteX1481" fmla="*/ 3660136 w 4940931"/>
                <a:gd name="connsiteY1481" fmla="*/ 109220 h 138429"/>
                <a:gd name="connsiteX1482" fmla="*/ 3654421 w 4940931"/>
                <a:gd name="connsiteY1482" fmla="*/ 105410 h 138429"/>
                <a:gd name="connsiteX1483" fmla="*/ 3650611 w 4940931"/>
                <a:gd name="connsiteY1483" fmla="*/ 99060 h 138429"/>
                <a:gd name="connsiteX1484" fmla="*/ 3649341 w 4940931"/>
                <a:gd name="connsiteY1484" fmla="*/ 89535 h 138429"/>
                <a:gd name="connsiteX1485" fmla="*/ 3649341 w 4940931"/>
                <a:gd name="connsiteY1485" fmla="*/ 44450 h 138429"/>
                <a:gd name="connsiteX1486" fmla="*/ 3638546 w 4940931"/>
                <a:gd name="connsiteY1486" fmla="*/ 44450 h 138429"/>
                <a:gd name="connsiteX1487" fmla="*/ 3638546 w 4940931"/>
                <a:gd name="connsiteY1487" fmla="*/ 30480 h 138429"/>
                <a:gd name="connsiteX1488" fmla="*/ 3649341 w 4940931"/>
                <a:gd name="connsiteY1488" fmla="*/ 30480 h 138429"/>
                <a:gd name="connsiteX1489" fmla="*/ 3649341 w 4940931"/>
                <a:gd name="connsiteY1489" fmla="*/ 8255 h 138429"/>
                <a:gd name="connsiteX1490" fmla="*/ 3610605 w 4940931"/>
                <a:gd name="connsiteY1490" fmla="*/ 0 h 138429"/>
                <a:gd name="connsiteX1491" fmla="*/ 3610605 w 4940931"/>
                <a:gd name="connsiteY1491" fmla="*/ 30480 h 138429"/>
                <a:gd name="connsiteX1492" fmla="*/ 3629655 w 4940931"/>
                <a:gd name="connsiteY1492" fmla="*/ 30480 h 138429"/>
                <a:gd name="connsiteX1493" fmla="*/ 3629655 w 4940931"/>
                <a:gd name="connsiteY1493" fmla="*/ 44450 h 138429"/>
                <a:gd name="connsiteX1494" fmla="*/ 3610605 w 4940931"/>
                <a:gd name="connsiteY1494" fmla="*/ 44450 h 138429"/>
                <a:gd name="connsiteX1495" fmla="*/ 3610605 w 4940931"/>
                <a:gd name="connsiteY1495" fmla="*/ 86995 h 138429"/>
                <a:gd name="connsiteX1496" fmla="*/ 3610605 w 4940931"/>
                <a:gd name="connsiteY1496" fmla="*/ 91440 h 138429"/>
                <a:gd name="connsiteX1497" fmla="*/ 3611875 w 4940931"/>
                <a:gd name="connsiteY1497" fmla="*/ 94615 h 138429"/>
                <a:gd name="connsiteX1498" fmla="*/ 3614415 w 4940931"/>
                <a:gd name="connsiteY1498" fmla="*/ 95885 h 138429"/>
                <a:gd name="connsiteX1499" fmla="*/ 3618225 w 4940931"/>
                <a:gd name="connsiteY1499" fmla="*/ 95885 h 138429"/>
                <a:gd name="connsiteX1500" fmla="*/ 3624575 w 4940931"/>
                <a:gd name="connsiteY1500" fmla="*/ 95250 h 138429"/>
                <a:gd name="connsiteX1501" fmla="*/ 3629655 w 4940931"/>
                <a:gd name="connsiteY1501" fmla="*/ 93345 h 138429"/>
                <a:gd name="connsiteX1502" fmla="*/ 3627750 w 4940931"/>
                <a:gd name="connsiteY1502" fmla="*/ 106680 h 138429"/>
                <a:gd name="connsiteX1503" fmla="*/ 3621400 w 4940931"/>
                <a:gd name="connsiteY1503" fmla="*/ 109220 h 138429"/>
                <a:gd name="connsiteX1504" fmla="*/ 3613145 w 4940931"/>
                <a:gd name="connsiteY1504" fmla="*/ 110490 h 138429"/>
                <a:gd name="connsiteX1505" fmla="*/ 3606160 w 4940931"/>
                <a:gd name="connsiteY1505" fmla="*/ 109220 h 138429"/>
                <a:gd name="connsiteX1506" fmla="*/ 3600445 w 4940931"/>
                <a:gd name="connsiteY1506" fmla="*/ 105410 h 138429"/>
                <a:gd name="connsiteX1507" fmla="*/ 3596635 w 4940931"/>
                <a:gd name="connsiteY1507" fmla="*/ 99060 h 138429"/>
                <a:gd name="connsiteX1508" fmla="*/ 3595365 w 4940931"/>
                <a:gd name="connsiteY1508" fmla="*/ 89535 h 138429"/>
                <a:gd name="connsiteX1509" fmla="*/ 3595365 w 4940931"/>
                <a:gd name="connsiteY1509" fmla="*/ 44450 h 138429"/>
                <a:gd name="connsiteX1510" fmla="*/ 3584570 w 4940931"/>
                <a:gd name="connsiteY1510" fmla="*/ 44450 h 138429"/>
                <a:gd name="connsiteX1511" fmla="*/ 3584570 w 4940931"/>
                <a:gd name="connsiteY1511" fmla="*/ 30480 h 138429"/>
                <a:gd name="connsiteX1512" fmla="*/ 3595365 w 4940931"/>
                <a:gd name="connsiteY1512" fmla="*/ 30480 h 138429"/>
                <a:gd name="connsiteX1513" fmla="*/ 3595365 w 4940931"/>
                <a:gd name="connsiteY1513" fmla="*/ 8255 h 138429"/>
                <a:gd name="connsiteX1514" fmla="*/ 3445505 w 4940931"/>
                <a:gd name="connsiteY1514" fmla="*/ 0 h 138429"/>
                <a:gd name="connsiteX1515" fmla="*/ 3445505 w 4940931"/>
                <a:gd name="connsiteY1515" fmla="*/ 37465 h 138429"/>
                <a:gd name="connsiteX1516" fmla="*/ 3449950 w 4940931"/>
                <a:gd name="connsiteY1516" fmla="*/ 33655 h 138429"/>
                <a:gd name="connsiteX1517" fmla="*/ 3453760 w 4940931"/>
                <a:gd name="connsiteY1517" fmla="*/ 31115 h 138429"/>
                <a:gd name="connsiteX1518" fmla="*/ 3458840 w 4940931"/>
                <a:gd name="connsiteY1518" fmla="*/ 29210 h 138429"/>
                <a:gd name="connsiteX1519" fmla="*/ 3465825 w 4940931"/>
                <a:gd name="connsiteY1519" fmla="*/ 28575 h 138429"/>
                <a:gd name="connsiteX1520" fmla="*/ 3477890 w 4940931"/>
                <a:gd name="connsiteY1520" fmla="*/ 31115 h 138429"/>
                <a:gd name="connsiteX1521" fmla="*/ 3487415 w 4940931"/>
                <a:gd name="connsiteY1521" fmla="*/ 38735 h 138429"/>
                <a:gd name="connsiteX1522" fmla="*/ 3493765 w 4940931"/>
                <a:gd name="connsiteY1522" fmla="*/ 51435 h 138429"/>
                <a:gd name="connsiteX1523" fmla="*/ 3496305 w 4940931"/>
                <a:gd name="connsiteY1523" fmla="*/ 70485 h 138429"/>
                <a:gd name="connsiteX1524" fmla="*/ 3495670 w 4940931"/>
                <a:gd name="connsiteY1524" fmla="*/ 71120 h 138429"/>
                <a:gd name="connsiteX1525" fmla="*/ 3493130 w 4940931"/>
                <a:gd name="connsiteY1525" fmla="*/ 88265 h 138429"/>
                <a:gd name="connsiteX1526" fmla="*/ 3486145 w 4940931"/>
                <a:gd name="connsiteY1526" fmla="*/ 100330 h 138429"/>
                <a:gd name="connsiteX1527" fmla="*/ 3476620 w 4940931"/>
                <a:gd name="connsiteY1527" fmla="*/ 107315 h 138429"/>
                <a:gd name="connsiteX1528" fmla="*/ 3465190 w 4940931"/>
                <a:gd name="connsiteY1528" fmla="*/ 109855 h 138429"/>
                <a:gd name="connsiteX1529" fmla="*/ 3454395 w 4940931"/>
                <a:gd name="connsiteY1529" fmla="*/ 107315 h 138429"/>
                <a:gd name="connsiteX1530" fmla="*/ 3445505 w 4940931"/>
                <a:gd name="connsiteY1530" fmla="*/ 100965 h 138429"/>
                <a:gd name="connsiteX1531" fmla="*/ 3445505 w 4940931"/>
                <a:gd name="connsiteY1531" fmla="*/ 107950 h 138429"/>
                <a:gd name="connsiteX1532" fmla="*/ 3430265 w 4940931"/>
                <a:gd name="connsiteY1532" fmla="*/ 107950 h 138429"/>
                <a:gd name="connsiteX1533" fmla="*/ 3430265 w 4940931"/>
                <a:gd name="connsiteY1533" fmla="*/ 7620 h 138429"/>
                <a:gd name="connsiteX1534" fmla="*/ 2380611 w 4940931"/>
                <a:gd name="connsiteY1534" fmla="*/ 0 h 138429"/>
                <a:gd name="connsiteX1535" fmla="*/ 2380611 w 4940931"/>
                <a:gd name="connsiteY1535" fmla="*/ 30480 h 138429"/>
                <a:gd name="connsiteX1536" fmla="*/ 2399661 w 4940931"/>
                <a:gd name="connsiteY1536" fmla="*/ 30480 h 138429"/>
                <a:gd name="connsiteX1537" fmla="*/ 2399661 w 4940931"/>
                <a:gd name="connsiteY1537" fmla="*/ 44450 h 138429"/>
                <a:gd name="connsiteX1538" fmla="*/ 2380611 w 4940931"/>
                <a:gd name="connsiteY1538" fmla="*/ 44450 h 138429"/>
                <a:gd name="connsiteX1539" fmla="*/ 2380611 w 4940931"/>
                <a:gd name="connsiteY1539" fmla="*/ 86995 h 138429"/>
                <a:gd name="connsiteX1540" fmla="*/ 2380611 w 4940931"/>
                <a:gd name="connsiteY1540" fmla="*/ 91440 h 138429"/>
                <a:gd name="connsiteX1541" fmla="*/ 2381881 w 4940931"/>
                <a:gd name="connsiteY1541" fmla="*/ 94615 h 138429"/>
                <a:gd name="connsiteX1542" fmla="*/ 2384421 w 4940931"/>
                <a:gd name="connsiteY1542" fmla="*/ 95885 h 138429"/>
                <a:gd name="connsiteX1543" fmla="*/ 2388231 w 4940931"/>
                <a:gd name="connsiteY1543" fmla="*/ 95885 h 138429"/>
                <a:gd name="connsiteX1544" fmla="*/ 2394581 w 4940931"/>
                <a:gd name="connsiteY1544" fmla="*/ 95250 h 138429"/>
                <a:gd name="connsiteX1545" fmla="*/ 2399661 w 4940931"/>
                <a:gd name="connsiteY1545" fmla="*/ 93345 h 138429"/>
                <a:gd name="connsiteX1546" fmla="*/ 2397756 w 4940931"/>
                <a:gd name="connsiteY1546" fmla="*/ 106680 h 138429"/>
                <a:gd name="connsiteX1547" fmla="*/ 2391406 w 4940931"/>
                <a:gd name="connsiteY1547" fmla="*/ 109220 h 138429"/>
                <a:gd name="connsiteX1548" fmla="*/ 2383151 w 4940931"/>
                <a:gd name="connsiteY1548" fmla="*/ 110490 h 138429"/>
                <a:gd name="connsiteX1549" fmla="*/ 2376166 w 4940931"/>
                <a:gd name="connsiteY1549" fmla="*/ 109220 h 138429"/>
                <a:gd name="connsiteX1550" fmla="*/ 2370451 w 4940931"/>
                <a:gd name="connsiteY1550" fmla="*/ 105410 h 138429"/>
                <a:gd name="connsiteX1551" fmla="*/ 2366641 w 4940931"/>
                <a:gd name="connsiteY1551" fmla="*/ 99060 h 138429"/>
                <a:gd name="connsiteX1552" fmla="*/ 2365371 w 4940931"/>
                <a:gd name="connsiteY1552" fmla="*/ 89535 h 138429"/>
                <a:gd name="connsiteX1553" fmla="*/ 2365371 w 4940931"/>
                <a:gd name="connsiteY1553" fmla="*/ 44450 h 138429"/>
                <a:gd name="connsiteX1554" fmla="*/ 2354576 w 4940931"/>
                <a:gd name="connsiteY1554" fmla="*/ 44450 h 138429"/>
                <a:gd name="connsiteX1555" fmla="*/ 2354576 w 4940931"/>
                <a:gd name="connsiteY1555" fmla="*/ 30480 h 138429"/>
                <a:gd name="connsiteX1556" fmla="*/ 2365371 w 4940931"/>
                <a:gd name="connsiteY1556" fmla="*/ 30480 h 138429"/>
                <a:gd name="connsiteX1557" fmla="*/ 2365371 w 4940931"/>
                <a:gd name="connsiteY1557" fmla="*/ 8255 h 138429"/>
                <a:gd name="connsiteX1558" fmla="*/ 2150741 w 4940931"/>
                <a:gd name="connsiteY1558" fmla="*/ 0 h 138429"/>
                <a:gd name="connsiteX1559" fmla="*/ 2150741 w 4940931"/>
                <a:gd name="connsiteY1559" fmla="*/ 30480 h 138429"/>
                <a:gd name="connsiteX1560" fmla="*/ 2169791 w 4940931"/>
                <a:gd name="connsiteY1560" fmla="*/ 30480 h 138429"/>
                <a:gd name="connsiteX1561" fmla="*/ 2169791 w 4940931"/>
                <a:gd name="connsiteY1561" fmla="*/ 44450 h 138429"/>
                <a:gd name="connsiteX1562" fmla="*/ 2150741 w 4940931"/>
                <a:gd name="connsiteY1562" fmla="*/ 44450 h 138429"/>
                <a:gd name="connsiteX1563" fmla="*/ 2150741 w 4940931"/>
                <a:gd name="connsiteY1563" fmla="*/ 86995 h 138429"/>
                <a:gd name="connsiteX1564" fmla="*/ 2150741 w 4940931"/>
                <a:gd name="connsiteY1564" fmla="*/ 91440 h 138429"/>
                <a:gd name="connsiteX1565" fmla="*/ 2152011 w 4940931"/>
                <a:gd name="connsiteY1565" fmla="*/ 94615 h 138429"/>
                <a:gd name="connsiteX1566" fmla="*/ 2154551 w 4940931"/>
                <a:gd name="connsiteY1566" fmla="*/ 95885 h 138429"/>
                <a:gd name="connsiteX1567" fmla="*/ 2158361 w 4940931"/>
                <a:gd name="connsiteY1567" fmla="*/ 95885 h 138429"/>
                <a:gd name="connsiteX1568" fmla="*/ 2164711 w 4940931"/>
                <a:gd name="connsiteY1568" fmla="*/ 95250 h 138429"/>
                <a:gd name="connsiteX1569" fmla="*/ 2169791 w 4940931"/>
                <a:gd name="connsiteY1569" fmla="*/ 93345 h 138429"/>
                <a:gd name="connsiteX1570" fmla="*/ 2167886 w 4940931"/>
                <a:gd name="connsiteY1570" fmla="*/ 106680 h 138429"/>
                <a:gd name="connsiteX1571" fmla="*/ 2161536 w 4940931"/>
                <a:gd name="connsiteY1571" fmla="*/ 109220 h 138429"/>
                <a:gd name="connsiteX1572" fmla="*/ 2153281 w 4940931"/>
                <a:gd name="connsiteY1572" fmla="*/ 110490 h 138429"/>
                <a:gd name="connsiteX1573" fmla="*/ 2146296 w 4940931"/>
                <a:gd name="connsiteY1573" fmla="*/ 109220 h 138429"/>
                <a:gd name="connsiteX1574" fmla="*/ 2140581 w 4940931"/>
                <a:gd name="connsiteY1574" fmla="*/ 105410 h 138429"/>
                <a:gd name="connsiteX1575" fmla="*/ 2136771 w 4940931"/>
                <a:gd name="connsiteY1575" fmla="*/ 99060 h 138429"/>
                <a:gd name="connsiteX1576" fmla="*/ 2135501 w 4940931"/>
                <a:gd name="connsiteY1576" fmla="*/ 89535 h 138429"/>
                <a:gd name="connsiteX1577" fmla="*/ 2135501 w 4940931"/>
                <a:gd name="connsiteY1577" fmla="*/ 44450 h 138429"/>
                <a:gd name="connsiteX1578" fmla="*/ 2124706 w 4940931"/>
                <a:gd name="connsiteY1578" fmla="*/ 44450 h 138429"/>
                <a:gd name="connsiteX1579" fmla="*/ 2124706 w 4940931"/>
                <a:gd name="connsiteY1579" fmla="*/ 30480 h 138429"/>
                <a:gd name="connsiteX1580" fmla="*/ 2135501 w 4940931"/>
                <a:gd name="connsiteY1580" fmla="*/ 30480 h 138429"/>
                <a:gd name="connsiteX1581" fmla="*/ 2135501 w 4940931"/>
                <a:gd name="connsiteY1581" fmla="*/ 8255 h 138429"/>
                <a:gd name="connsiteX1582" fmla="*/ 2096131 w 4940931"/>
                <a:gd name="connsiteY1582" fmla="*/ 0 h 138429"/>
                <a:gd name="connsiteX1583" fmla="*/ 2096131 w 4940931"/>
                <a:gd name="connsiteY1583" fmla="*/ 30480 h 138429"/>
                <a:gd name="connsiteX1584" fmla="*/ 2115181 w 4940931"/>
                <a:gd name="connsiteY1584" fmla="*/ 30480 h 138429"/>
                <a:gd name="connsiteX1585" fmla="*/ 2115181 w 4940931"/>
                <a:gd name="connsiteY1585" fmla="*/ 44450 h 138429"/>
                <a:gd name="connsiteX1586" fmla="*/ 2096131 w 4940931"/>
                <a:gd name="connsiteY1586" fmla="*/ 44450 h 138429"/>
                <a:gd name="connsiteX1587" fmla="*/ 2096131 w 4940931"/>
                <a:gd name="connsiteY1587" fmla="*/ 86995 h 138429"/>
                <a:gd name="connsiteX1588" fmla="*/ 2096131 w 4940931"/>
                <a:gd name="connsiteY1588" fmla="*/ 91440 h 138429"/>
                <a:gd name="connsiteX1589" fmla="*/ 2097401 w 4940931"/>
                <a:gd name="connsiteY1589" fmla="*/ 94615 h 138429"/>
                <a:gd name="connsiteX1590" fmla="*/ 2099941 w 4940931"/>
                <a:gd name="connsiteY1590" fmla="*/ 95885 h 138429"/>
                <a:gd name="connsiteX1591" fmla="*/ 2103751 w 4940931"/>
                <a:gd name="connsiteY1591" fmla="*/ 95885 h 138429"/>
                <a:gd name="connsiteX1592" fmla="*/ 2110101 w 4940931"/>
                <a:gd name="connsiteY1592" fmla="*/ 95250 h 138429"/>
                <a:gd name="connsiteX1593" fmla="*/ 2115181 w 4940931"/>
                <a:gd name="connsiteY1593" fmla="*/ 93345 h 138429"/>
                <a:gd name="connsiteX1594" fmla="*/ 2113276 w 4940931"/>
                <a:gd name="connsiteY1594" fmla="*/ 106680 h 138429"/>
                <a:gd name="connsiteX1595" fmla="*/ 2106926 w 4940931"/>
                <a:gd name="connsiteY1595" fmla="*/ 109220 h 138429"/>
                <a:gd name="connsiteX1596" fmla="*/ 2098671 w 4940931"/>
                <a:gd name="connsiteY1596" fmla="*/ 110490 h 138429"/>
                <a:gd name="connsiteX1597" fmla="*/ 2091686 w 4940931"/>
                <a:gd name="connsiteY1597" fmla="*/ 109220 h 138429"/>
                <a:gd name="connsiteX1598" fmla="*/ 2085971 w 4940931"/>
                <a:gd name="connsiteY1598" fmla="*/ 105410 h 138429"/>
                <a:gd name="connsiteX1599" fmla="*/ 2082161 w 4940931"/>
                <a:gd name="connsiteY1599" fmla="*/ 99060 h 138429"/>
                <a:gd name="connsiteX1600" fmla="*/ 2080891 w 4940931"/>
                <a:gd name="connsiteY1600" fmla="*/ 89535 h 138429"/>
                <a:gd name="connsiteX1601" fmla="*/ 2080891 w 4940931"/>
                <a:gd name="connsiteY1601" fmla="*/ 44450 h 138429"/>
                <a:gd name="connsiteX1602" fmla="*/ 2070096 w 4940931"/>
                <a:gd name="connsiteY1602" fmla="*/ 44450 h 138429"/>
                <a:gd name="connsiteX1603" fmla="*/ 2070096 w 4940931"/>
                <a:gd name="connsiteY1603" fmla="*/ 30480 h 138429"/>
                <a:gd name="connsiteX1604" fmla="*/ 2080891 w 4940931"/>
                <a:gd name="connsiteY1604" fmla="*/ 30480 h 138429"/>
                <a:gd name="connsiteX1605" fmla="*/ 2080891 w 4940931"/>
                <a:gd name="connsiteY1605" fmla="*/ 8255 h 138429"/>
                <a:gd name="connsiteX1606" fmla="*/ 1931665 w 4940931"/>
                <a:gd name="connsiteY1606" fmla="*/ 0 h 138429"/>
                <a:gd name="connsiteX1607" fmla="*/ 1931665 w 4940931"/>
                <a:gd name="connsiteY1607" fmla="*/ 37465 h 138429"/>
                <a:gd name="connsiteX1608" fmla="*/ 1936110 w 4940931"/>
                <a:gd name="connsiteY1608" fmla="*/ 33655 h 138429"/>
                <a:gd name="connsiteX1609" fmla="*/ 1939920 w 4940931"/>
                <a:gd name="connsiteY1609" fmla="*/ 31115 h 138429"/>
                <a:gd name="connsiteX1610" fmla="*/ 1945000 w 4940931"/>
                <a:gd name="connsiteY1610" fmla="*/ 29210 h 138429"/>
                <a:gd name="connsiteX1611" fmla="*/ 1951985 w 4940931"/>
                <a:gd name="connsiteY1611" fmla="*/ 28575 h 138429"/>
                <a:gd name="connsiteX1612" fmla="*/ 1964050 w 4940931"/>
                <a:gd name="connsiteY1612" fmla="*/ 31115 h 138429"/>
                <a:gd name="connsiteX1613" fmla="*/ 1973575 w 4940931"/>
                <a:gd name="connsiteY1613" fmla="*/ 38735 h 138429"/>
                <a:gd name="connsiteX1614" fmla="*/ 1979925 w 4940931"/>
                <a:gd name="connsiteY1614" fmla="*/ 51435 h 138429"/>
                <a:gd name="connsiteX1615" fmla="*/ 1982465 w 4940931"/>
                <a:gd name="connsiteY1615" fmla="*/ 70485 h 138429"/>
                <a:gd name="connsiteX1616" fmla="*/ 1981830 w 4940931"/>
                <a:gd name="connsiteY1616" fmla="*/ 71120 h 138429"/>
                <a:gd name="connsiteX1617" fmla="*/ 1979290 w 4940931"/>
                <a:gd name="connsiteY1617" fmla="*/ 88265 h 138429"/>
                <a:gd name="connsiteX1618" fmla="*/ 1972305 w 4940931"/>
                <a:gd name="connsiteY1618" fmla="*/ 100330 h 138429"/>
                <a:gd name="connsiteX1619" fmla="*/ 1962780 w 4940931"/>
                <a:gd name="connsiteY1619" fmla="*/ 107315 h 138429"/>
                <a:gd name="connsiteX1620" fmla="*/ 1951350 w 4940931"/>
                <a:gd name="connsiteY1620" fmla="*/ 109855 h 138429"/>
                <a:gd name="connsiteX1621" fmla="*/ 1940555 w 4940931"/>
                <a:gd name="connsiteY1621" fmla="*/ 107315 h 138429"/>
                <a:gd name="connsiteX1622" fmla="*/ 1931665 w 4940931"/>
                <a:gd name="connsiteY1622" fmla="*/ 100965 h 138429"/>
                <a:gd name="connsiteX1623" fmla="*/ 1931665 w 4940931"/>
                <a:gd name="connsiteY1623" fmla="*/ 107950 h 138429"/>
                <a:gd name="connsiteX1624" fmla="*/ 1916425 w 4940931"/>
                <a:gd name="connsiteY1624" fmla="*/ 107950 h 138429"/>
                <a:gd name="connsiteX1625" fmla="*/ 1916425 w 4940931"/>
                <a:gd name="connsiteY1625" fmla="*/ 7620 h 138429"/>
                <a:gd name="connsiteX1626" fmla="*/ 1316991 w 4940931"/>
                <a:gd name="connsiteY1626" fmla="*/ 0 h 138429"/>
                <a:gd name="connsiteX1627" fmla="*/ 1316991 w 4940931"/>
                <a:gd name="connsiteY1627" fmla="*/ 30480 h 138429"/>
                <a:gd name="connsiteX1628" fmla="*/ 1336041 w 4940931"/>
                <a:gd name="connsiteY1628" fmla="*/ 30480 h 138429"/>
                <a:gd name="connsiteX1629" fmla="*/ 1336041 w 4940931"/>
                <a:gd name="connsiteY1629" fmla="*/ 44450 h 138429"/>
                <a:gd name="connsiteX1630" fmla="*/ 1316991 w 4940931"/>
                <a:gd name="connsiteY1630" fmla="*/ 44450 h 138429"/>
                <a:gd name="connsiteX1631" fmla="*/ 1316991 w 4940931"/>
                <a:gd name="connsiteY1631" fmla="*/ 86995 h 138429"/>
                <a:gd name="connsiteX1632" fmla="*/ 1316991 w 4940931"/>
                <a:gd name="connsiteY1632" fmla="*/ 91440 h 138429"/>
                <a:gd name="connsiteX1633" fmla="*/ 1318261 w 4940931"/>
                <a:gd name="connsiteY1633" fmla="*/ 94615 h 138429"/>
                <a:gd name="connsiteX1634" fmla="*/ 1320801 w 4940931"/>
                <a:gd name="connsiteY1634" fmla="*/ 95885 h 138429"/>
                <a:gd name="connsiteX1635" fmla="*/ 1324611 w 4940931"/>
                <a:gd name="connsiteY1635" fmla="*/ 95885 h 138429"/>
                <a:gd name="connsiteX1636" fmla="*/ 1330961 w 4940931"/>
                <a:gd name="connsiteY1636" fmla="*/ 95250 h 138429"/>
                <a:gd name="connsiteX1637" fmla="*/ 1336041 w 4940931"/>
                <a:gd name="connsiteY1637" fmla="*/ 93345 h 138429"/>
                <a:gd name="connsiteX1638" fmla="*/ 1334136 w 4940931"/>
                <a:gd name="connsiteY1638" fmla="*/ 106680 h 138429"/>
                <a:gd name="connsiteX1639" fmla="*/ 1327786 w 4940931"/>
                <a:gd name="connsiteY1639" fmla="*/ 109220 h 138429"/>
                <a:gd name="connsiteX1640" fmla="*/ 1319531 w 4940931"/>
                <a:gd name="connsiteY1640" fmla="*/ 110490 h 138429"/>
                <a:gd name="connsiteX1641" fmla="*/ 1312546 w 4940931"/>
                <a:gd name="connsiteY1641" fmla="*/ 109220 h 138429"/>
                <a:gd name="connsiteX1642" fmla="*/ 1306831 w 4940931"/>
                <a:gd name="connsiteY1642" fmla="*/ 105410 h 138429"/>
                <a:gd name="connsiteX1643" fmla="*/ 1303021 w 4940931"/>
                <a:gd name="connsiteY1643" fmla="*/ 99060 h 138429"/>
                <a:gd name="connsiteX1644" fmla="*/ 1301751 w 4940931"/>
                <a:gd name="connsiteY1644" fmla="*/ 89535 h 138429"/>
                <a:gd name="connsiteX1645" fmla="*/ 1301751 w 4940931"/>
                <a:gd name="connsiteY1645" fmla="*/ 44450 h 138429"/>
                <a:gd name="connsiteX1646" fmla="*/ 1290956 w 4940931"/>
                <a:gd name="connsiteY1646" fmla="*/ 44450 h 138429"/>
                <a:gd name="connsiteX1647" fmla="*/ 1290956 w 4940931"/>
                <a:gd name="connsiteY1647" fmla="*/ 30480 h 138429"/>
                <a:gd name="connsiteX1648" fmla="*/ 1301751 w 4940931"/>
                <a:gd name="connsiteY1648" fmla="*/ 30480 h 138429"/>
                <a:gd name="connsiteX1649" fmla="*/ 1301751 w 4940931"/>
                <a:gd name="connsiteY1649" fmla="*/ 8255 h 138429"/>
                <a:gd name="connsiteX1650" fmla="*/ 751206 w 4940931"/>
                <a:gd name="connsiteY1650" fmla="*/ 0 h 138429"/>
                <a:gd name="connsiteX1651" fmla="*/ 751206 w 4940931"/>
                <a:gd name="connsiteY1651" fmla="*/ 30480 h 138429"/>
                <a:gd name="connsiteX1652" fmla="*/ 770256 w 4940931"/>
                <a:gd name="connsiteY1652" fmla="*/ 30480 h 138429"/>
                <a:gd name="connsiteX1653" fmla="*/ 770256 w 4940931"/>
                <a:gd name="connsiteY1653" fmla="*/ 44450 h 138429"/>
                <a:gd name="connsiteX1654" fmla="*/ 751206 w 4940931"/>
                <a:gd name="connsiteY1654" fmla="*/ 44450 h 138429"/>
                <a:gd name="connsiteX1655" fmla="*/ 751206 w 4940931"/>
                <a:gd name="connsiteY1655" fmla="*/ 86995 h 138429"/>
                <a:gd name="connsiteX1656" fmla="*/ 751206 w 4940931"/>
                <a:gd name="connsiteY1656" fmla="*/ 91440 h 138429"/>
                <a:gd name="connsiteX1657" fmla="*/ 752476 w 4940931"/>
                <a:gd name="connsiteY1657" fmla="*/ 94615 h 138429"/>
                <a:gd name="connsiteX1658" fmla="*/ 755016 w 4940931"/>
                <a:gd name="connsiteY1658" fmla="*/ 95885 h 138429"/>
                <a:gd name="connsiteX1659" fmla="*/ 758826 w 4940931"/>
                <a:gd name="connsiteY1659" fmla="*/ 95885 h 138429"/>
                <a:gd name="connsiteX1660" fmla="*/ 765176 w 4940931"/>
                <a:gd name="connsiteY1660" fmla="*/ 95250 h 138429"/>
                <a:gd name="connsiteX1661" fmla="*/ 770256 w 4940931"/>
                <a:gd name="connsiteY1661" fmla="*/ 93345 h 138429"/>
                <a:gd name="connsiteX1662" fmla="*/ 768351 w 4940931"/>
                <a:gd name="connsiteY1662" fmla="*/ 106680 h 138429"/>
                <a:gd name="connsiteX1663" fmla="*/ 762001 w 4940931"/>
                <a:gd name="connsiteY1663" fmla="*/ 109220 h 138429"/>
                <a:gd name="connsiteX1664" fmla="*/ 753746 w 4940931"/>
                <a:gd name="connsiteY1664" fmla="*/ 110490 h 138429"/>
                <a:gd name="connsiteX1665" fmla="*/ 746761 w 4940931"/>
                <a:gd name="connsiteY1665" fmla="*/ 109220 h 138429"/>
                <a:gd name="connsiteX1666" fmla="*/ 741045 w 4940931"/>
                <a:gd name="connsiteY1666" fmla="*/ 105410 h 138429"/>
                <a:gd name="connsiteX1667" fmla="*/ 737236 w 4940931"/>
                <a:gd name="connsiteY1667" fmla="*/ 99060 h 138429"/>
                <a:gd name="connsiteX1668" fmla="*/ 735966 w 4940931"/>
                <a:gd name="connsiteY1668" fmla="*/ 89535 h 138429"/>
                <a:gd name="connsiteX1669" fmla="*/ 735966 w 4940931"/>
                <a:gd name="connsiteY1669" fmla="*/ 44450 h 138429"/>
                <a:gd name="connsiteX1670" fmla="*/ 725171 w 4940931"/>
                <a:gd name="connsiteY1670" fmla="*/ 44450 h 138429"/>
                <a:gd name="connsiteX1671" fmla="*/ 725171 w 4940931"/>
                <a:gd name="connsiteY1671" fmla="*/ 30480 h 138429"/>
                <a:gd name="connsiteX1672" fmla="*/ 735966 w 4940931"/>
                <a:gd name="connsiteY1672" fmla="*/ 30480 h 138429"/>
                <a:gd name="connsiteX1673" fmla="*/ 735966 w 4940931"/>
                <a:gd name="connsiteY1673" fmla="*/ 8255 h 138429"/>
                <a:gd name="connsiteX1674" fmla="*/ 521335 w 4940931"/>
                <a:gd name="connsiteY1674" fmla="*/ 0 h 138429"/>
                <a:gd name="connsiteX1675" fmla="*/ 521335 w 4940931"/>
                <a:gd name="connsiteY1675" fmla="*/ 30480 h 138429"/>
                <a:gd name="connsiteX1676" fmla="*/ 540385 w 4940931"/>
                <a:gd name="connsiteY1676" fmla="*/ 30480 h 138429"/>
                <a:gd name="connsiteX1677" fmla="*/ 540385 w 4940931"/>
                <a:gd name="connsiteY1677" fmla="*/ 44450 h 138429"/>
                <a:gd name="connsiteX1678" fmla="*/ 521335 w 4940931"/>
                <a:gd name="connsiteY1678" fmla="*/ 44450 h 138429"/>
                <a:gd name="connsiteX1679" fmla="*/ 521335 w 4940931"/>
                <a:gd name="connsiteY1679" fmla="*/ 86995 h 138429"/>
                <a:gd name="connsiteX1680" fmla="*/ 521335 w 4940931"/>
                <a:gd name="connsiteY1680" fmla="*/ 91440 h 138429"/>
                <a:gd name="connsiteX1681" fmla="*/ 522605 w 4940931"/>
                <a:gd name="connsiteY1681" fmla="*/ 94615 h 138429"/>
                <a:gd name="connsiteX1682" fmla="*/ 525145 w 4940931"/>
                <a:gd name="connsiteY1682" fmla="*/ 95885 h 138429"/>
                <a:gd name="connsiteX1683" fmla="*/ 528955 w 4940931"/>
                <a:gd name="connsiteY1683" fmla="*/ 95885 h 138429"/>
                <a:gd name="connsiteX1684" fmla="*/ 535305 w 4940931"/>
                <a:gd name="connsiteY1684" fmla="*/ 95250 h 138429"/>
                <a:gd name="connsiteX1685" fmla="*/ 540385 w 4940931"/>
                <a:gd name="connsiteY1685" fmla="*/ 93345 h 138429"/>
                <a:gd name="connsiteX1686" fmla="*/ 538480 w 4940931"/>
                <a:gd name="connsiteY1686" fmla="*/ 106680 h 138429"/>
                <a:gd name="connsiteX1687" fmla="*/ 532130 w 4940931"/>
                <a:gd name="connsiteY1687" fmla="*/ 109220 h 138429"/>
                <a:gd name="connsiteX1688" fmla="*/ 523875 w 4940931"/>
                <a:gd name="connsiteY1688" fmla="*/ 110490 h 138429"/>
                <a:gd name="connsiteX1689" fmla="*/ 516890 w 4940931"/>
                <a:gd name="connsiteY1689" fmla="*/ 109220 h 138429"/>
                <a:gd name="connsiteX1690" fmla="*/ 511175 w 4940931"/>
                <a:gd name="connsiteY1690" fmla="*/ 105410 h 138429"/>
                <a:gd name="connsiteX1691" fmla="*/ 507365 w 4940931"/>
                <a:gd name="connsiteY1691" fmla="*/ 99060 h 138429"/>
                <a:gd name="connsiteX1692" fmla="*/ 506095 w 4940931"/>
                <a:gd name="connsiteY1692" fmla="*/ 89535 h 138429"/>
                <a:gd name="connsiteX1693" fmla="*/ 506095 w 4940931"/>
                <a:gd name="connsiteY1693" fmla="*/ 44450 h 138429"/>
                <a:gd name="connsiteX1694" fmla="*/ 495300 w 4940931"/>
                <a:gd name="connsiteY1694" fmla="*/ 44450 h 138429"/>
                <a:gd name="connsiteX1695" fmla="*/ 495300 w 4940931"/>
                <a:gd name="connsiteY1695" fmla="*/ 30480 h 138429"/>
                <a:gd name="connsiteX1696" fmla="*/ 506095 w 4940931"/>
                <a:gd name="connsiteY1696" fmla="*/ 30480 h 138429"/>
                <a:gd name="connsiteX1697" fmla="*/ 506095 w 4940931"/>
                <a:gd name="connsiteY1697" fmla="*/ 8255 h 138429"/>
                <a:gd name="connsiteX1698" fmla="*/ 466724 w 4940931"/>
                <a:gd name="connsiteY1698" fmla="*/ 0 h 138429"/>
                <a:gd name="connsiteX1699" fmla="*/ 466724 w 4940931"/>
                <a:gd name="connsiteY1699" fmla="*/ 30480 h 138429"/>
                <a:gd name="connsiteX1700" fmla="*/ 485774 w 4940931"/>
                <a:gd name="connsiteY1700" fmla="*/ 30480 h 138429"/>
                <a:gd name="connsiteX1701" fmla="*/ 485774 w 4940931"/>
                <a:gd name="connsiteY1701" fmla="*/ 44450 h 138429"/>
                <a:gd name="connsiteX1702" fmla="*/ 466724 w 4940931"/>
                <a:gd name="connsiteY1702" fmla="*/ 44450 h 138429"/>
                <a:gd name="connsiteX1703" fmla="*/ 466724 w 4940931"/>
                <a:gd name="connsiteY1703" fmla="*/ 86995 h 138429"/>
                <a:gd name="connsiteX1704" fmla="*/ 466724 w 4940931"/>
                <a:gd name="connsiteY1704" fmla="*/ 91440 h 138429"/>
                <a:gd name="connsiteX1705" fmla="*/ 467994 w 4940931"/>
                <a:gd name="connsiteY1705" fmla="*/ 94615 h 138429"/>
                <a:gd name="connsiteX1706" fmla="*/ 470534 w 4940931"/>
                <a:gd name="connsiteY1706" fmla="*/ 95885 h 138429"/>
                <a:gd name="connsiteX1707" fmla="*/ 474344 w 4940931"/>
                <a:gd name="connsiteY1707" fmla="*/ 95885 h 138429"/>
                <a:gd name="connsiteX1708" fmla="*/ 480694 w 4940931"/>
                <a:gd name="connsiteY1708" fmla="*/ 95250 h 138429"/>
                <a:gd name="connsiteX1709" fmla="*/ 485774 w 4940931"/>
                <a:gd name="connsiteY1709" fmla="*/ 93345 h 138429"/>
                <a:gd name="connsiteX1710" fmla="*/ 483869 w 4940931"/>
                <a:gd name="connsiteY1710" fmla="*/ 106680 h 138429"/>
                <a:gd name="connsiteX1711" fmla="*/ 477519 w 4940931"/>
                <a:gd name="connsiteY1711" fmla="*/ 109220 h 138429"/>
                <a:gd name="connsiteX1712" fmla="*/ 469264 w 4940931"/>
                <a:gd name="connsiteY1712" fmla="*/ 110490 h 138429"/>
                <a:gd name="connsiteX1713" fmla="*/ 462279 w 4940931"/>
                <a:gd name="connsiteY1713" fmla="*/ 109220 h 138429"/>
                <a:gd name="connsiteX1714" fmla="*/ 456564 w 4940931"/>
                <a:gd name="connsiteY1714" fmla="*/ 105410 h 138429"/>
                <a:gd name="connsiteX1715" fmla="*/ 452754 w 4940931"/>
                <a:gd name="connsiteY1715" fmla="*/ 99060 h 138429"/>
                <a:gd name="connsiteX1716" fmla="*/ 451484 w 4940931"/>
                <a:gd name="connsiteY1716" fmla="*/ 89535 h 138429"/>
                <a:gd name="connsiteX1717" fmla="*/ 451484 w 4940931"/>
                <a:gd name="connsiteY1717" fmla="*/ 44450 h 138429"/>
                <a:gd name="connsiteX1718" fmla="*/ 440689 w 4940931"/>
                <a:gd name="connsiteY1718" fmla="*/ 44450 h 138429"/>
                <a:gd name="connsiteX1719" fmla="*/ 440689 w 4940931"/>
                <a:gd name="connsiteY1719" fmla="*/ 30480 h 138429"/>
                <a:gd name="connsiteX1720" fmla="*/ 451484 w 4940931"/>
                <a:gd name="connsiteY1720" fmla="*/ 30480 h 138429"/>
                <a:gd name="connsiteX1721" fmla="*/ 451484 w 4940931"/>
                <a:gd name="connsiteY1721" fmla="*/ 8255 h 138429"/>
                <a:gd name="connsiteX1722" fmla="*/ 302259 w 4940931"/>
                <a:gd name="connsiteY1722" fmla="*/ 0 h 138429"/>
                <a:gd name="connsiteX1723" fmla="*/ 302259 w 4940931"/>
                <a:gd name="connsiteY1723" fmla="*/ 37465 h 138429"/>
                <a:gd name="connsiteX1724" fmla="*/ 306704 w 4940931"/>
                <a:gd name="connsiteY1724" fmla="*/ 33655 h 138429"/>
                <a:gd name="connsiteX1725" fmla="*/ 310514 w 4940931"/>
                <a:gd name="connsiteY1725" fmla="*/ 31115 h 138429"/>
                <a:gd name="connsiteX1726" fmla="*/ 315594 w 4940931"/>
                <a:gd name="connsiteY1726" fmla="*/ 29210 h 138429"/>
                <a:gd name="connsiteX1727" fmla="*/ 322579 w 4940931"/>
                <a:gd name="connsiteY1727" fmla="*/ 28575 h 138429"/>
                <a:gd name="connsiteX1728" fmla="*/ 334644 w 4940931"/>
                <a:gd name="connsiteY1728" fmla="*/ 31115 h 138429"/>
                <a:gd name="connsiteX1729" fmla="*/ 344169 w 4940931"/>
                <a:gd name="connsiteY1729" fmla="*/ 38735 h 138429"/>
                <a:gd name="connsiteX1730" fmla="*/ 350519 w 4940931"/>
                <a:gd name="connsiteY1730" fmla="*/ 51435 h 138429"/>
                <a:gd name="connsiteX1731" fmla="*/ 353059 w 4940931"/>
                <a:gd name="connsiteY1731" fmla="*/ 70485 h 138429"/>
                <a:gd name="connsiteX1732" fmla="*/ 352424 w 4940931"/>
                <a:gd name="connsiteY1732" fmla="*/ 71120 h 138429"/>
                <a:gd name="connsiteX1733" fmla="*/ 349884 w 4940931"/>
                <a:gd name="connsiteY1733" fmla="*/ 88265 h 138429"/>
                <a:gd name="connsiteX1734" fmla="*/ 342899 w 4940931"/>
                <a:gd name="connsiteY1734" fmla="*/ 100330 h 138429"/>
                <a:gd name="connsiteX1735" fmla="*/ 333374 w 4940931"/>
                <a:gd name="connsiteY1735" fmla="*/ 107315 h 138429"/>
                <a:gd name="connsiteX1736" fmla="*/ 321944 w 4940931"/>
                <a:gd name="connsiteY1736" fmla="*/ 109855 h 138429"/>
                <a:gd name="connsiteX1737" fmla="*/ 311149 w 4940931"/>
                <a:gd name="connsiteY1737" fmla="*/ 107315 h 138429"/>
                <a:gd name="connsiteX1738" fmla="*/ 302259 w 4940931"/>
                <a:gd name="connsiteY1738" fmla="*/ 100965 h 138429"/>
                <a:gd name="connsiteX1739" fmla="*/ 302259 w 4940931"/>
                <a:gd name="connsiteY1739" fmla="*/ 107950 h 138429"/>
                <a:gd name="connsiteX1740" fmla="*/ 287019 w 4940931"/>
                <a:gd name="connsiteY1740" fmla="*/ 107950 h 138429"/>
                <a:gd name="connsiteX1741" fmla="*/ 287019 w 4940931"/>
                <a:gd name="connsiteY1741" fmla="*/ 7620 h 138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Lst>
              <a:rect l="l" t="t" r="r" b="b"/>
              <a:pathLst>
                <a:path w="4940931" h="138429">
                  <a:moveTo>
                    <a:pt x="1032512" y="137477"/>
                  </a:moveTo>
                  <a:lnTo>
                    <a:pt x="1032512" y="137794"/>
                  </a:lnTo>
                  <a:lnTo>
                    <a:pt x="1030607" y="138429"/>
                  </a:lnTo>
                  <a:close/>
                  <a:moveTo>
                    <a:pt x="4929501" y="87629"/>
                  </a:moveTo>
                  <a:cubicBezTo>
                    <a:pt x="4930771" y="87629"/>
                    <a:pt x="4932676" y="87629"/>
                    <a:pt x="4933946" y="88264"/>
                  </a:cubicBezTo>
                  <a:cubicBezTo>
                    <a:pt x="4935216" y="88264"/>
                    <a:pt x="4936486" y="89534"/>
                    <a:pt x="4937756" y="90804"/>
                  </a:cubicBezTo>
                  <a:cubicBezTo>
                    <a:pt x="4939026" y="92074"/>
                    <a:pt x="4939661" y="93344"/>
                    <a:pt x="4940296" y="94614"/>
                  </a:cubicBezTo>
                  <a:cubicBezTo>
                    <a:pt x="4940296" y="95884"/>
                    <a:pt x="4940931" y="97789"/>
                    <a:pt x="4940931" y="99059"/>
                  </a:cubicBezTo>
                  <a:cubicBezTo>
                    <a:pt x="4940931" y="99059"/>
                    <a:pt x="4940931" y="102234"/>
                    <a:pt x="4940296" y="103504"/>
                  </a:cubicBezTo>
                  <a:cubicBezTo>
                    <a:pt x="4940296" y="104774"/>
                    <a:pt x="4939026" y="106044"/>
                    <a:pt x="4937756" y="107314"/>
                  </a:cubicBezTo>
                  <a:cubicBezTo>
                    <a:pt x="4936486" y="108584"/>
                    <a:pt x="4935216" y="109219"/>
                    <a:pt x="4933946" y="109854"/>
                  </a:cubicBezTo>
                  <a:cubicBezTo>
                    <a:pt x="4932676" y="109854"/>
                    <a:pt x="4930771" y="110489"/>
                    <a:pt x="4929501" y="110489"/>
                  </a:cubicBezTo>
                  <a:cubicBezTo>
                    <a:pt x="4928231" y="110489"/>
                    <a:pt x="4926326" y="110489"/>
                    <a:pt x="4925056" y="109854"/>
                  </a:cubicBezTo>
                  <a:cubicBezTo>
                    <a:pt x="4923786" y="109854"/>
                    <a:pt x="4922516" y="108584"/>
                    <a:pt x="4921246" y="107314"/>
                  </a:cubicBezTo>
                  <a:cubicBezTo>
                    <a:pt x="4919976" y="106044"/>
                    <a:pt x="4919341" y="104774"/>
                    <a:pt x="4918706" y="103504"/>
                  </a:cubicBezTo>
                  <a:cubicBezTo>
                    <a:pt x="4918706" y="102234"/>
                    <a:pt x="4918071" y="100329"/>
                    <a:pt x="4918071" y="99059"/>
                  </a:cubicBezTo>
                  <a:cubicBezTo>
                    <a:pt x="4918071" y="97789"/>
                    <a:pt x="4918071" y="95884"/>
                    <a:pt x="4918706" y="94614"/>
                  </a:cubicBezTo>
                  <a:cubicBezTo>
                    <a:pt x="4918706" y="93344"/>
                    <a:pt x="4919976" y="92074"/>
                    <a:pt x="4921246" y="90804"/>
                  </a:cubicBezTo>
                  <a:cubicBezTo>
                    <a:pt x="4922516" y="89534"/>
                    <a:pt x="4923786" y="88899"/>
                    <a:pt x="4925056" y="88264"/>
                  </a:cubicBezTo>
                  <a:cubicBezTo>
                    <a:pt x="4926326" y="88264"/>
                    <a:pt x="4928231" y="87629"/>
                    <a:pt x="4929501" y="87629"/>
                  </a:cubicBezTo>
                  <a:close/>
                  <a:moveTo>
                    <a:pt x="3079110" y="87629"/>
                  </a:moveTo>
                  <a:cubicBezTo>
                    <a:pt x="3080380" y="87629"/>
                    <a:pt x="3082285" y="87629"/>
                    <a:pt x="3083555" y="88264"/>
                  </a:cubicBezTo>
                  <a:cubicBezTo>
                    <a:pt x="3084825" y="88264"/>
                    <a:pt x="3086095" y="89534"/>
                    <a:pt x="3087365" y="90804"/>
                  </a:cubicBezTo>
                  <a:cubicBezTo>
                    <a:pt x="3088635" y="92074"/>
                    <a:pt x="3089270" y="93344"/>
                    <a:pt x="3089905" y="94614"/>
                  </a:cubicBezTo>
                  <a:cubicBezTo>
                    <a:pt x="3089905" y="95884"/>
                    <a:pt x="3090540" y="97789"/>
                    <a:pt x="3090540" y="99059"/>
                  </a:cubicBezTo>
                  <a:cubicBezTo>
                    <a:pt x="3090540" y="99059"/>
                    <a:pt x="3090540" y="102234"/>
                    <a:pt x="3089905" y="103504"/>
                  </a:cubicBezTo>
                  <a:cubicBezTo>
                    <a:pt x="3089905" y="104774"/>
                    <a:pt x="3088635" y="106044"/>
                    <a:pt x="3087365" y="107314"/>
                  </a:cubicBezTo>
                  <a:cubicBezTo>
                    <a:pt x="3086095" y="108584"/>
                    <a:pt x="3084825" y="109219"/>
                    <a:pt x="3083555" y="109854"/>
                  </a:cubicBezTo>
                  <a:cubicBezTo>
                    <a:pt x="3082285" y="109854"/>
                    <a:pt x="3080380" y="110489"/>
                    <a:pt x="3079110" y="110489"/>
                  </a:cubicBezTo>
                  <a:cubicBezTo>
                    <a:pt x="3077840" y="110489"/>
                    <a:pt x="3075935" y="110489"/>
                    <a:pt x="3074665" y="109854"/>
                  </a:cubicBezTo>
                  <a:cubicBezTo>
                    <a:pt x="3073395" y="109854"/>
                    <a:pt x="3072125" y="108584"/>
                    <a:pt x="3070855" y="107314"/>
                  </a:cubicBezTo>
                  <a:cubicBezTo>
                    <a:pt x="3069585" y="106044"/>
                    <a:pt x="3068950" y="104774"/>
                    <a:pt x="3068315" y="103504"/>
                  </a:cubicBezTo>
                  <a:cubicBezTo>
                    <a:pt x="3068315" y="102234"/>
                    <a:pt x="3067680" y="100329"/>
                    <a:pt x="3067680" y="99059"/>
                  </a:cubicBezTo>
                  <a:cubicBezTo>
                    <a:pt x="3067680" y="97789"/>
                    <a:pt x="3067680" y="95884"/>
                    <a:pt x="3068315" y="94614"/>
                  </a:cubicBezTo>
                  <a:cubicBezTo>
                    <a:pt x="3068315" y="93344"/>
                    <a:pt x="3069585" y="92074"/>
                    <a:pt x="3070855" y="90804"/>
                  </a:cubicBezTo>
                  <a:cubicBezTo>
                    <a:pt x="3072125" y="89534"/>
                    <a:pt x="3073395" y="88899"/>
                    <a:pt x="3074665" y="88264"/>
                  </a:cubicBezTo>
                  <a:cubicBezTo>
                    <a:pt x="3075935" y="88264"/>
                    <a:pt x="3077840" y="87629"/>
                    <a:pt x="3079110" y="87629"/>
                  </a:cubicBezTo>
                  <a:close/>
                  <a:moveTo>
                    <a:pt x="1565275" y="87629"/>
                  </a:moveTo>
                  <a:cubicBezTo>
                    <a:pt x="1566545" y="87629"/>
                    <a:pt x="1568450" y="87629"/>
                    <a:pt x="1569720" y="88264"/>
                  </a:cubicBezTo>
                  <a:cubicBezTo>
                    <a:pt x="1570990" y="88264"/>
                    <a:pt x="1572260" y="89534"/>
                    <a:pt x="1573529" y="90804"/>
                  </a:cubicBezTo>
                  <a:cubicBezTo>
                    <a:pt x="1574800" y="92074"/>
                    <a:pt x="1575435" y="93344"/>
                    <a:pt x="1576069" y="94614"/>
                  </a:cubicBezTo>
                  <a:cubicBezTo>
                    <a:pt x="1576069" y="95884"/>
                    <a:pt x="1576705" y="97789"/>
                    <a:pt x="1576705" y="99059"/>
                  </a:cubicBezTo>
                  <a:cubicBezTo>
                    <a:pt x="1576705" y="99059"/>
                    <a:pt x="1576705" y="102234"/>
                    <a:pt x="1576069" y="103504"/>
                  </a:cubicBezTo>
                  <a:cubicBezTo>
                    <a:pt x="1576069" y="104774"/>
                    <a:pt x="1574800" y="106044"/>
                    <a:pt x="1573529" y="107314"/>
                  </a:cubicBezTo>
                  <a:cubicBezTo>
                    <a:pt x="1572260" y="108584"/>
                    <a:pt x="1570990" y="109219"/>
                    <a:pt x="1569720" y="109854"/>
                  </a:cubicBezTo>
                  <a:cubicBezTo>
                    <a:pt x="1568450" y="109854"/>
                    <a:pt x="1566545" y="110489"/>
                    <a:pt x="1565275" y="110489"/>
                  </a:cubicBezTo>
                  <a:cubicBezTo>
                    <a:pt x="1564005" y="110489"/>
                    <a:pt x="1562099" y="110489"/>
                    <a:pt x="1560830" y="109854"/>
                  </a:cubicBezTo>
                  <a:cubicBezTo>
                    <a:pt x="1559559" y="109854"/>
                    <a:pt x="1558289" y="108584"/>
                    <a:pt x="1557020" y="107314"/>
                  </a:cubicBezTo>
                  <a:cubicBezTo>
                    <a:pt x="1555750" y="106044"/>
                    <a:pt x="1555114" y="104774"/>
                    <a:pt x="1554479" y="103504"/>
                  </a:cubicBezTo>
                  <a:cubicBezTo>
                    <a:pt x="1554479" y="102234"/>
                    <a:pt x="1553844" y="100329"/>
                    <a:pt x="1553844" y="99059"/>
                  </a:cubicBezTo>
                  <a:cubicBezTo>
                    <a:pt x="1553844" y="97789"/>
                    <a:pt x="1553844" y="95884"/>
                    <a:pt x="1554479" y="94614"/>
                  </a:cubicBezTo>
                  <a:cubicBezTo>
                    <a:pt x="1554479" y="93344"/>
                    <a:pt x="1555750" y="92074"/>
                    <a:pt x="1557020" y="90804"/>
                  </a:cubicBezTo>
                  <a:cubicBezTo>
                    <a:pt x="1558289" y="89534"/>
                    <a:pt x="1559559" y="88899"/>
                    <a:pt x="1560830" y="88264"/>
                  </a:cubicBezTo>
                  <a:cubicBezTo>
                    <a:pt x="1562099" y="88264"/>
                    <a:pt x="1564005" y="87629"/>
                    <a:pt x="1565275" y="87629"/>
                  </a:cubicBezTo>
                  <a:close/>
                  <a:moveTo>
                    <a:pt x="2642230" y="73024"/>
                  </a:moveTo>
                  <a:cubicBezTo>
                    <a:pt x="2637150" y="73024"/>
                    <a:pt x="2633340" y="74294"/>
                    <a:pt x="2630800" y="76199"/>
                  </a:cubicBezTo>
                  <a:cubicBezTo>
                    <a:pt x="2627625" y="78104"/>
                    <a:pt x="2626355" y="81279"/>
                    <a:pt x="2626355" y="84454"/>
                  </a:cubicBezTo>
                  <a:cubicBezTo>
                    <a:pt x="2626355" y="86994"/>
                    <a:pt x="2626355" y="88899"/>
                    <a:pt x="2627625" y="90169"/>
                  </a:cubicBezTo>
                  <a:cubicBezTo>
                    <a:pt x="2628260" y="92074"/>
                    <a:pt x="2629530" y="93344"/>
                    <a:pt x="2630800" y="93979"/>
                  </a:cubicBezTo>
                  <a:cubicBezTo>
                    <a:pt x="2632070" y="95249"/>
                    <a:pt x="2633340" y="95884"/>
                    <a:pt x="2635245" y="96519"/>
                  </a:cubicBezTo>
                  <a:cubicBezTo>
                    <a:pt x="2637150" y="96519"/>
                    <a:pt x="2639055" y="97154"/>
                    <a:pt x="2641595" y="97154"/>
                  </a:cubicBezTo>
                  <a:cubicBezTo>
                    <a:pt x="2643500" y="97154"/>
                    <a:pt x="2645405" y="97154"/>
                    <a:pt x="2647310" y="96519"/>
                  </a:cubicBezTo>
                  <a:cubicBezTo>
                    <a:pt x="2649215" y="96519"/>
                    <a:pt x="2651120" y="95249"/>
                    <a:pt x="2652390" y="93979"/>
                  </a:cubicBezTo>
                  <a:cubicBezTo>
                    <a:pt x="2654295" y="93344"/>
                    <a:pt x="2655565" y="92074"/>
                    <a:pt x="2656835" y="90804"/>
                  </a:cubicBezTo>
                  <a:cubicBezTo>
                    <a:pt x="2658105" y="89534"/>
                    <a:pt x="2659375" y="88264"/>
                    <a:pt x="2660010" y="86994"/>
                  </a:cubicBezTo>
                  <a:lnTo>
                    <a:pt x="2660010" y="75564"/>
                  </a:lnTo>
                  <a:cubicBezTo>
                    <a:pt x="2660010" y="75564"/>
                    <a:pt x="2657470" y="74294"/>
                    <a:pt x="2656200" y="74294"/>
                  </a:cubicBezTo>
                  <a:cubicBezTo>
                    <a:pt x="2654930" y="74294"/>
                    <a:pt x="2653660" y="73659"/>
                    <a:pt x="2652390" y="73659"/>
                  </a:cubicBezTo>
                  <a:cubicBezTo>
                    <a:pt x="2651120" y="73659"/>
                    <a:pt x="2649850" y="73659"/>
                    <a:pt x="2647945" y="73024"/>
                  </a:cubicBezTo>
                  <a:cubicBezTo>
                    <a:pt x="2646040" y="73024"/>
                    <a:pt x="2644135" y="73024"/>
                    <a:pt x="2642230" y="73024"/>
                  </a:cubicBezTo>
                  <a:close/>
                  <a:moveTo>
                    <a:pt x="4664706" y="43814"/>
                  </a:moveTo>
                  <a:cubicBezTo>
                    <a:pt x="4661531" y="43814"/>
                    <a:pt x="4658991" y="43814"/>
                    <a:pt x="4657086" y="45719"/>
                  </a:cubicBezTo>
                  <a:cubicBezTo>
                    <a:pt x="4654546" y="46989"/>
                    <a:pt x="4652641" y="48894"/>
                    <a:pt x="4651371" y="50799"/>
                  </a:cubicBezTo>
                  <a:cubicBezTo>
                    <a:pt x="4649466" y="53339"/>
                    <a:pt x="4648831" y="55879"/>
                    <a:pt x="4647561" y="59054"/>
                  </a:cubicBezTo>
                  <a:cubicBezTo>
                    <a:pt x="4646926" y="62229"/>
                    <a:pt x="4646291" y="65404"/>
                    <a:pt x="4646291" y="69849"/>
                  </a:cubicBezTo>
                  <a:cubicBezTo>
                    <a:pt x="4646291" y="74294"/>
                    <a:pt x="4646291" y="78104"/>
                    <a:pt x="4647561" y="81279"/>
                  </a:cubicBezTo>
                  <a:cubicBezTo>
                    <a:pt x="4648196" y="84454"/>
                    <a:pt x="4650101" y="87629"/>
                    <a:pt x="4651371" y="89534"/>
                  </a:cubicBezTo>
                  <a:cubicBezTo>
                    <a:pt x="4653276" y="92074"/>
                    <a:pt x="4655181" y="93344"/>
                    <a:pt x="4657721" y="94614"/>
                  </a:cubicBezTo>
                  <a:cubicBezTo>
                    <a:pt x="4660261" y="95884"/>
                    <a:pt x="4662801" y="96519"/>
                    <a:pt x="4665341" y="96519"/>
                  </a:cubicBezTo>
                  <a:cubicBezTo>
                    <a:pt x="4667881" y="96519"/>
                    <a:pt x="4671056" y="95884"/>
                    <a:pt x="4672961" y="94614"/>
                  </a:cubicBezTo>
                  <a:cubicBezTo>
                    <a:pt x="4675501" y="93344"/>
                    <a:pt x="4677406" y="91439"/>
                    <a:pt x="4678676" y="88899"/>
                  </a:cubicBezTo>
                  <a:cubicBezTo>
                    <a:pt x="4680581" y="86359"/>
                    <a:pt x="4681851" y="83819"/>
                    <a:pt x="4682486" y="80644"/>
                  </a:cubicBezTo>
                  <a:cubicBezTo>
                    <a:pt x="4683121" y="77469"/>
                    <a:pt x="4683756" y="74294"/>
                    <a:pt x="4683756" y="70484"/>
                  </a:cubicBezTo>
                  <a:lnTo>
                    <a:pt x="4684391" y="69849"/>
                  </a:lnTo>
                  <a:cubicBezTo>
                    <a:pt x="4684391" y="66039"/>
                    <a:pt x="4684391" y="62229"/>
                    <a:pt x="4683121" y="59054"/>
                  </a:cubicBezTo>
                  <a:cubicBezTo>
                    <a:pt x="4682486" y="55879"/>
                    <a:pt x="4680581" y="53339"/>
                    <a:pt x="4679311" y="50799"/>
                  </a:cubicBezTo>
                  <a:cubicBezTo>
                    <a:pt x="4677406" y="48259"/>
                    <a:pt x="4675501" y="46989"/>
                    <a:pt x="4672961" y="45719"/>
                  </a:cubicBezTo>
                  <a:cubicBezTo>
                    <a:pt x="4670421" y="44449"/>
                    <a:pt x="4667881" y="43814"/>
                    <a:pt x="4664706" y="43814"/>
                  </a:cubicBezTo>
                  <a:close/>
                  <a:moveTo>
                    <a:pt x="4264020" y="43814"/>
                  </a:moveTo>
                  <a:cubicBezTo>
                    <a:pt x="4260845" y="43814"/>
                    <a:pt x="4258305" y="43814"/>
                    <a:pt x="4256400" y="45719"/>
                  </a:cubicBezTo>
                  <a:cubicBezTo>
                    <a:pt x="4253860" y="46989"/>
                    <a:pt x="4251955" y="48894"/>
                    <a:pt x="4250685" y="50799"/>
                  </a:cubicBezTo>
                  <a:cubicBezTo>
                    <a:pt x="4248780" y="53339"/>
                    <a:pt x="4247510" y="55879"/>
                    <a:pt x="4246875" y="59054"/>
                  </a:cubicBezTo>
                  <a:cubicBezTo>
                    <a:pt x="4246240" y="62229"/>
                    <a:pt x="4245605" y="65404"/>
                    <a:pt x="4245605" y="69849"/>
                  </a:cubicBezTo>
                  <a:cubicBezTo>
                    <a:pt x="4245605" y="74294"/>
                    <a:pt x="4245605" y="78104"/>
                    <a:pt x="4246875" y="81279"/>
                  </a:cubicBezTo>
                  <a:cubicBezTo>
                    <a:pt x="4247510" y="84454"/>
                    <a:pt x="4249415" y="87629"/>
                    <a:pt x="4250685" y="89534"/>
                  </a:cubicBezTo>
                  <a:cubicBezTo>
                    <a:pt x="4252590" y="92074"/>
                    <a:pt x="4254495" y="93344"/>
                    <a:pt x="4257035" y="94614"/>
                  </a:cubicBezTo>
                  <a:cubicBezTo>
                    <a:pt x="4259575" y="95884"/>
                    <a:pt x="4262115" y="96519"/>
                    <a:pt x="4264655" y="96519"/>
                  </a:cubicBezTo>
                  <a:cubicBezTo>
                    <a:pt x="4267195" y="96519"/>
                    <a:pt x="4270370" y="95884"/>
                    <a:pt x="4272275" y="94614"/>
                  </a:cubicBezTo>
                  <a:cubicBezTo>
                    <a:pt x="4274815" y="93344"/>
                    <a:pt x="4276720" y="91439"/>
                    <a:pt x="4277990" y="88899"/>
                  </a:cubicBezTo>
                  <a:cubicBezTo>
                    <a:pt x="4279895" y="86359"/>
                    <a:pt x="4281165" y="83819"/>
                    <a:pt x="4281800" y="80644"/>
                  </a:cubicBezTo>
                  <a:cubicBezTo>
                    <a:pt x="4282435" y="77469"/>
                    <a:pt x="4283070" y="74294"/>
                    <a:pt x="4283070" y="70484"/>
                  </a:cubicBezTo>
                  <a:lnTo>
                    <a:pt x="4283705" y="69849"/>
                  </a:lnTo>
                  <a:cubicBezTo>
                    <a:pt x="4283705" y="66039"/>
                    <a:pt x="4283705" y="62229"/>
                    <a:pt x="4282435" y="59054"/>
                  </a:cubicBezTo>
                  <a:cubicBezTo>
                    <a:pt x="4281800" y="55879"/>
                    <a:pt x="4279895" y="53339"/>
                    <a:pt x="4278625" y="50799"/>
                  </a:cubicBezTo>
                  <a:cubicBezTo>
                    <a:pt x="4276720" y="48259"/>
                    <a:pt x="4274815" y="46989"/>
                    <a:pt x="4272275" y="45719"/>
                  </a:cubicBezTo>
                  <a:cubicBezTo>
                    <a:pt x="4269735" y="44449"/>
                    <a:pt x="4267195" y="43814"/>
                    <a:pt x="4264020" y="43814"/>
                  </a:cubicBezTo>
                  <a:close/>
                  <a:moveTo>
                    <a:pt x="1420495" y="43814"/>
                  </a:moveTo>
                  <a:cubicBezTo>
                    <a:pt x="1417320" y="43814"/>
                    <a:pt x="1414780" y="43814"/>
                    <a:pt x="1412875" y="45719"/>
                  </a:cubicBezTo>
                  <a:cubicBezTo>
                    <a:pt x="1410335" y="46989"/>
                    <a:pt x="1408430" y="48894"/>
                    <a:pt x="1407160" y="50799"/>
                  </a:cubicBezTo>
                  <a:cubicBezTo>
                    <a:pt x="1405255" y="53339"/>
                    <a:pt x="1403985" y="55879"/>
                    <a:pt x="1403350" y="59054"/>
                  </a:cubicBezTo>
                  <a:cubicBezTo>
                    <a:pt x="1402715" y="62229"/>
                    <a:pt x="1402080" y="65404"/>
                    <a:pt x="1402080" y="69849"/>
                  </a:cubicBezTo>
                  <a:cubicBezTo>
                    <a:pt x="1402080" y="74294"/>
                    <a:pt x="1402080" y="78104"/>
                    <a:pt x="1403350" y="81279"/>
                  </a:cubicBezTo>
                  <a:cubicBezTo>
                    <a:pt x="1403985" y="84454"/>
                    <a:pt x="1405890" y="87629"/>
                    <a:pt x="1407160" y="89534"/>
                  </a:cubicBezTo>
                  <a:cubicBezTo>
                    <a:pt x="1409065" y="92074"/>
                    <a:pt x="1410970" y="93344"/>
                    <a:pt x="1413510" y="94614"/>
                  </a:cubicBezTo>
                  <a:cubicBezTo>
                    <a:pt x="1416050" y="95884"/>
                    <a:pt x="1418590" y="96519"/>
                    <a:pt x="1421130" y="96519"/>
                  </a:cubicBezTo>
                  <a:cubicBezTo>
                    <a:pt x="1423670" y="96519"/>
                    <a:pt x="1426845" y="95884"/>
                    <a:pt x="1428750" y="94614"/>
                  </a:cubicBezTo>
                  <a:cubicBezTo>
                    <a:pt x="1431290" y="93344"/>
                    <a:pt x="1433195" y="91439"/>
                    <a:pt x="1434465" y="88899"/>
                  </a:cubicBezTo>
                  <a:cubicBezTo>
                    <a:pt x="1436370" y="86359"/>
                    <a:pt x="1437640" y="83819"/>
                    <a:pt x="1438275" y="80644"/>
                  </a:cubicBezTo>
                  <a:cubicBezTo>
                    <a:pt x="1438910" y="77469"/>
                    <a:pt x="1439545" y="74294"/>
                    <a:pt x="1439545" y="70484"/>
                  </a:cubicBezTo>
                  <a:lnTo>
                    <a:pt x="1440180" y="69849"/>
                  </a:lnTo>
                  <a:cubicBezTo>
                    <a:pt x="1440180" y="66039"/>
                    <a:pt x="1440180" y="62229"/>
                    <a:pt x="1438910" y="59054"/>
                  </a:cubicBezTo>
                  <a:cubicBezTo>
                    <a:pt x="1438275" y="55879"/>
                    <a:pt x="1436370" y="53339"/>
                    <a:pt x="1435100" y="50799"/>
                  </a:cubicBezTo>
                  <a:cubicBezTo>
                    <a:pt x="1433195" y="48259"/>
                    <a:pt x="1431290" y="46989"/>
                    <a:pt x="1428750" y="45719"/>
                  </a:cubicBezTo>
                  <a:cubicBezTo>
                    <a:pt x="1426210" y="44449"/>
                    <a:pt x="1423670" y="43814"/>
                    <a:pt x="1420495" y="43814"/>
                  </a:cubicBezTo>
                  <a:close/>
                  <a:moveTo>
                    <a:pt x="4041770" y="43180"/>
                  </a:moveTo>
                  <a:cubicBezTo>
                    <a:pt x="4039230" y="43180"/>
                    <a:pt x="4036690" y="43180"/>
                    <a:pt x="4034785" y="44450"/>
                  </a:cubicBezTo>
                  <a:cubicBezTo>
                    <a:pt x="4032880" y="45085"/>
                    <a:pt x="4030975" y="46355"/>
                    <a:pt x="4029705" y="48260"/>
                  </a:cubicBezTo>
                  <a:cubicBezTo>
                    <a:pt x="4028435" y="50165"/>
                    <a:pt x="4027165" y="52070"/>
                    <a:pt x="4025895" y="54610"/>
                  </a:cubicBezTo>
                  <a:cubicBezTo>
                    <a:pt x="4025260" y="57150"/>
                    <a:pt x="4023990" y="59690"/>
                    <a:pt x="4023990" y="62865"/>
                  </a:cubicBezTo>
                  <a:lnTo>
                    <a:pt x="4060185" y="62865"/>
                  </a:lnTo>
                  <a:cubicBezTo>
                    <a:pt x="4060185" y="62865"/>
                    <a:pt x="4059550" y="57785"/>
                    <a:pt x="4058915" y="55245"/>
                  </a:cubicBezTo>
                  <a:cubicBezTo>
                    <a:pt x="4058280" y="52705"/>
                    <a:pt x="4057010" y="50800"/>
                    <a:pt x="4055740" y="48895"/>
                  </a:cubicBezTo>
                  <a:cubicBezTo>
                    <a:pt x="4054470" y="46990"/>
                    <a:pt x="4052565" y="45720"/>
                    <a:pt x="4050025" y="44450"/>
                  </a:cubicBezTo>
                  <a:cubicBezTo>
                    <a:pt x="4047485" y="43180"/>
                    <a:pt x="4044945" y="43180"/>
                    <a:pt x="4041770" y="43180"/>
                  </a:cubicBezTo>
                  <a:close/>
                  <a:moveTo>
                    <a:pt x="3728081" y="43180"/>
                  </a:moveTo>
                  <a:cubicBezTo>
                    <a:pt x="3725541" y="43180"/>
                    <a:pt x="3723001" y="43180"/>
                    <a:pt x="3721096" y="44450"/>
                  </a:cubicBezTo>
                  <a:cubicBezTo>
                    <a:pt x="3719191" y="45085"/>
                    <a:pt x="3717286" y="46355"/>
                    <a:pt x="3716016" y="48260"/>
                  </a:cubicBezTo>
                  <a:cubicBezTo>
                    <a:pt x="3714746" y="50165"/>
                    <a:pt x="3713476" y="52070"/>
                    <a:pt x="3712206" y="54610"/>
                  </a:cubicBezTo>
                  <a:cubicBezTo>
                    <a:pt x="3711571" y="57150"/>
                    <a:pt x="3710301" y="59690"/>
                    <a:pt x="3710301" y="62865"/>
                  </a:cubicBezTo>
                  <a:lnTo>
                    <a:pt x="3746496" y="62865"/>
                  </a:lnTo>
                  <a:cubicBezTo>
                    <a:pt x="3746496" y="62865"/>
                    <a:pt x="3745861" y="57785"/>
                    <a:pt x="3745226" y="55245"/>
                  </a:cubicBezTo>
                  <a:cubicBezTo>
                    <a:pt x="3744591" y="52705"/>
                    <a:pt x="3743321" y="50800"/>
                    <a:pt x="3742051" y="48895"/>
                  </a:cubicBezTo>
                  <a:cubicBezTo>
                    <a:pt x="3740781" y="46990"/>
                    <a:pt x="3738876" y="45720"/>
                    <a:pt x="3736336" y="44450"/>
                  </a:cubicBezTo>
                  <a:cubicBezTo>
                    <a:pt x="3733796" y="43180"/>
                    <a:pt x="3731256" y="43180"/>
                    <a:pt x="3728081" y="43180"/>
                  </a:cubicBezTo>
                  <a:close/>
                  <a:moveTo>
                    <a:pt x="3541391" y="43180"/>
                  </a:moveTo>
                  <a:cubicBezTo>
                    <a:pt x="3538851" y="43180"/>
                    <a:pt x="3536311" y="43180"/>
                    <a:pt x="3534406" y="44450"/>
                  </a:cubicBezTo>
                  <a:cubicBezTo>
                    <a:pt x="3532501" y="45085"/>
                    <a:pt x="3530596" y="46355"/>
                    <a:pt x="3529326" y="48260"/>
                  </a:cubicBezTo>
                  <a:cubicBezTo>
                    <a:pt x="3528056" y="50165"/>
                    <a:pt x="3526786" y="52070"/>
                    <a:pt x="3525516" y="54610"/>
                  </a:cubicBezTo>
                  <a:cubicBezTo>
                    <a:pt x="3524881" y="57150"/>
                    <a:pt x="3524246" y="59690"/>
                    <a:pt x="3523611" y="62865"/>
                  </a:cubicBezTo>
                  <a:lnTo>
                    <a:pt x="3559806" y="62865"/>
                  </a:lnTo>
                  <a:cubicBezTo>
                    <a:pt x="3559806" y="62865"/>
                    <a:pt x="3559171" y="57785"/>
                    <a:pt x="3558536" y="55245"/>
                  </a:cubicBezTo>
                  <a:cubicBezTo>
                    <a:pt x="3557901" y="52705"/>
                    <a:pt x="3556631" y="50800"/>
                    <a:pt x="3555361" y="48895"/>
                  </a:cubicBezTo>
                  <a:cubicBezTo>
                    <a:pt x="3554091" y="46990"/>
                    <a:pt x="3552186" y="45720"/>
                    <a:pt x="3549646" y="44450"/>
                  </a:cubicBezTo>
                  <a:cubicBezTo>
                    <a:pt x="3547106" y="43180"/>
                    <a:pt x="3544566" y="43180"/>
                    <a:pt x="3541391" y="43180"/>
                  </a:cubicBezTo>
                  <a:close/>
                  <a:moveTo>
                    <a:pt x="3463285" y="43180"/>
                  </a:moveTo>
                  <a:cubicBezTo>
                    <a:pt x="3461380" y="43180"/>
                    <a:pt x="3459475" y="43180"/>
                    <a:pt x="3458205" y="43815"/>
                  </a:cubicBezTo>
                  <a:cubicBezTo>
                    <a:pt x="3456300" y="43815"/>
                    <a:pt x="3455030" y="45085"/>
                    <a:pt x="3453125" y="45720"/>
                  </a:cubicBezTo>
                  <a:cubicBezTo>
                    <a:pt x="3451855" y="46355"/>
                    <a:pt x="3449950" y="47625"/>
                    <a:pt x="3448680" y="48895"/>
                  </a:cubicBezTo>
                  <a:cubicBezTo>
                    <a:pt x="3447410" y="50165"/>
                    <a:pt x="3446140" y="51435"/>
                    <a:pt x="3445505" y="52705"/>
                  </a:cubicBezTo>
                  <a:lnTo>
                    <a:pt x="3445505" y="85725"/>
                  </a:lnTo>
                  <a:cubicBezTo>
                    <a:pt x="3445505" y="85725"/>
                    <a:pt x="3447410" y="88265"/>
                    <a:pt x="3448680" y="89535"/>
                  </a:cubicBezTo>
                  <a:cubicBezTo>
                    <a:pt x="3449950" y="90805"/>
                    <a:pt x="3451220" y="92075"/>
                    <a:pt x="3453125" y="92710"/>
                  </a:cubicBezTo>
                  <a:cubicBezTo>
                    <a:pt x="3455030" y="93980"/>
                    <a:pt x="3456300" y="94615"/>
                    <a:pt x="3458205" y="95250"/>
                  </a:cubicBezTo>
                  <a:cubicBezTo>
                    <a:pt x="3460110" y="95250"/>
                    <a:pt x="3462015" y="95885"/>
                    <a:pt x="3463920" y="95885"/>
                  </a:cubicBezTo>
                  <a:cubicBezTo>
                    <a:pt x="3469635" y="95885"/>
                    <a:pt x="3473445" y="93980"/>
                    <a:pt x="3476620" y="89535"/>
                  </a:cubicBezTo>
                  <a:cubicBezTo>
                    <a:pt x="3479795" y="85090"/>
                    <a:pt x="3481065" y="79375"/>
                    <a:pt x="3481065" y="71120"/>
                  </a:cubicBezTo>
                  <a:lnTo>
                    <a:pt x="3480430" y="71755"/>
                  </a:lnTo>
                  <a:cubicBezTo>
                    <a:pt x="3480430" y="62230"/>
                    <a:pt x="3479160" y="54610"/>
                    <a:pt x="3475985" y="50165"/>
                  </a:cubicBezTo>
                  <a:cubicBezTo>
                    <a:pt x="3472810" y="45720"/>
                    <a:pt x="3468365" y="43180"/>
                    <a:pt x="3463285" y="43180"/>
                  </a:cubicBezTo>
                  <a:close/>
                  <a:moveTo>
                    <a:pt x="3343271" y="43180"/>
                  </a:moveTo>
                  <a:cubicBezTo>
                    <a:pt x="3340731" y="43180"/>
                    <a:pt x="3338191" y="43180"/>
                    <a:pt x="3336286" y="44450"/>
                  </a:cubicBezTo>
                  <a:cubicBezTo>
                    <a:pt x="3334381" y="45085"/>
                    <a:pt x="3332476" y="46355"/>
                    <a:pt x="3331206" y="48260"/>
                  </a:cubicBezTo>
                  <a:cubicBezTo>
                    <a:pt x="3329936" y="50165"/>
                    <a:pt x="3328666" y="52070"/>
                    <a:pt x="3327396" y="54610"/>
                  </a:cubicBezTo>
                  <a:cubicBezTo>
                    <a:pt x="3326761" y="57150"/>
                    <a:pt x="3326126" y="59690"/>
                    <a:pt x="3325491" y="62865"/>
                  </a:cubicBezTo>
                  <a:lnTo>
                    <a:pt x="3361686" y="62865"/>
                  </a:lnTo>
                  <a:cubicBezTo>
                    <a:pt x="3361686" y="62865"/>
                    <a:pt x="3361051" y="57785"/>
                    <a:pt x="3360416" y="55245"/>
                  </a:cubicBezTo>
                  <a:cubicBezTo>
                    <a:pt x="3359781" y="52705"/>
                    <a:pt x="3358511" y="50800"/>
                    <a:pt x="3357241" y="48895"/>
                  </a:cubicBezTo>
                  <a:cubicBezTo>
                    <a:pt x="3355971" y="46990"/>
                    <a:pt x="3354066" y="45720"/>
                    <a:pt x="3351526" y="44450"/>
                  </a:cubicBezTo>
                  <a:cubicBezTo>
                    <a:pt x="3348986" y="43180"/>
                    <a:pt x="3346446" y="43180"/>
                    <a:pt x="3343271" y="43180"/>
                  </a:cubicBezTo>
                  <a:close/>
                  <a:moveTo>
                    <a:pt x="2976876" y="43180"/>
                  </a:moveTo>
                  <a:cubicBezTo>
                    <a:pt x="2974336" y="43180"/>
                    <a:pt x="2971796" y="43180"/>
                    <a:pt x="2969891" y="44450"/>
                  </a:cubicBezTo>
                  <a:cubicBezTo>
                    <a:pt x="2967986" y="45085"/>
                    <a:pt x="2966081" y="46355"/>
                    <a:pt x="2964811" y="48260"/>
                  </a:cubicBezTo>
                  <a:cubicBezTo>
                    <a:pt x="2963541" y="50165"/>
                    <a:pt x="2962271" y="52070"/>
                    <a:pt x="2961001" y="54610"/>
                  </a:cubicBezTo>
                  <a:cubicBezTo>
                    <a:pt x="2960366" y="57150"/>
                    <a:pt x="2959731" y="59690"/>
                    <a:pt x="2959096" y="62865"/>
                  </a:cubicBezTo>
                  <a:lnTo>
                    <a:pt x="2995291" y="62865"/>
                  </a:lnTo>
                  <a:cubicBezTo>
                    <a:pt x="2995291" y="62865"/>
                    <a:pt x="2994656" y="57785"/>
                    <a:pt x="2994021" y="55245"/>
                  </a:cubicBezTo>
                  <a:cubicBezTo>
                    <a:pt x="2993386" y="52705"/>
                    <a:pt x="2992116" y="50800"/>
                    <a:pt x="2990846" y="48895"/>
                  </a:cubicBezTo>
                  <a:cubicBezTo>
                    <a:pt x="2989576" y="46990"/>
                    <a:pt x="2987671" y="45720"/>
                    <a:pt x="2985131" y="44450"/>
                  </a:cubicBezTo>
                  <a:cubicBezTo>
                    <a:pt x="2982591" y="43180"/>
                    <a:pt x="2980051" y="43180"/>
                    <a:pt x="2976876" y="43180"/>
                  </a:cubicBezTo>
                  <a:close/>
                  <a:moveTo>
                    <a:pt x="2527930" y="43180"/>
                  </a:moveTo>
                  <a:cubicBezTo>
                    <a:pt x="2525390" y="43180"/>
                    <a:pt x="2522850" y="43180"/>
                    <a:pt x="2520945" y="44450"/>
                  </a:cubicBezTo>
                  <a:cubicBezTo>
                    <a:pt x="2519040" y="45085"/>
                    <a:pt x="2517135" y="46355"/>
                    <a:pt x="2515865" y="48260"/>
                  </a:cubicBezTo>
                  <a:cubicBezTo>
                    <a:pt x="2514595" y="50165"/>
                    <a:pt x="2513325" y="52070"/>
                    <a:pt x="2512055" y="54610"/>
                  </a:cubicBezTo>
                  <a:cubicBezTo>
                    <a:pt x="2511420" y="57150"/>
                    <a:pt x="2510150" y="59690"/>
                    <a:pt x="2510150" y="62865"/>
                  </a:cubicBezTo>
                  <a:lnTo>
                    <a:pt x="2546345" y="62865"/>
                  </a:lnTo>
                  <a:cubicBezTo>
                    <a:pt x="2546345" y="62865"/>
                    <a:pt x="2545710" y="57785"/>
                    <a:pt x="2545075" y="55245"/>
                  </a:cubicBezTo>
                  <a:cubicBezTo>
                    <a:pt x="2544440" y="52705"/>
                    <a:pt x="2543170" y="50800"/>
                    <a:pt x="2541900" y="48895"/>
                  </a:cubicBezTo>
                  <a:cubicBezTo>
                    <a:pt x="2540630" y="46990"/>
                    <a:pt x="2538725" y="45720"/>
                    <a:pt x="2536185" y="44450"/>
                  </a:cubicBezTo>
                  <a:cubicBezTo>
                    <a:pt x="2533645" y="43180"/>
                    <a:pt x="2531105" y="43180"/>
                    <a:pt x="2527930" y="43180"/>
                  </a:cubicBezTo>
                  <a:close/>
                  <a:moveTo>
                    <a:pt x="2214240" y="43180"/>
                  </a:moveTo>
                  <a:cubicBezTo>
                    <a:pt x="2211700" y="43180"/>
                    <a:pt x="2209160" y="43180"/>
                    <a:pt x="2207255" y="44450"/>
                  </a:cubicBezTo>
                  <a:cubicBezTo>
                    <a:pt x="2205350" y="45085"/>
                    <a:pt x="2203445" y="46355"/>
                    <a:pt x="2202175" y="48260"/>
                  </a:cubicBezTo>
                  <a:cubicBezTo>
                    <a:pt x="2200905" y="50165"/>
                    <a:pt x="2199635" y="52070"/>
                    <a:pt x="2198365" y="54610"/>
                  </a:cubicBezTo>
                  <a:cubicBezTo>
                    <a:pt x="2197730" y="57150"/>
                    <a:pt x="2196460" y="59690"/>
                    <a:pt x="2196460" y="62865"/>
                  </a:cubicBezTo>
                  <a:lnTo>
                    <a:pt x="2232655" y="62865"/>
                  </a:lnTo>
                  <a:cubicBezTo>
                    <a:pt x="2232655" y="62865"/>
                    <a:pt x="2232020" y="57785"/>
                    <a:pt x="2231385" y="55245"/>
                  </a:cubicBezTo>
                  <a:cubicBezTo>
                    <a:pt x="2230750" y="52705"/>
                    <a:pt x="2229480" y="50800"/>
                    <a:pt x="2228210" y="48895"/>
                  </a:cubicBezTo>
                  <a:cubicBezTo>
                    <a:pt x="2226940" y="46990"/>
                    <a:pt x="2225035" y="45720"/>
                    <a:pt x="2222495" y="44450"/>
                  </a:cubicBezTo>
                  <a:cubicBezTo>
                    <a:pt x="2219955" y="43180"/>
                    <a:pt x="2217415" y="43180"/>
                    <a:pt x="2214240" y="43180"/>
                  </a:cubicBezTo>
                  <a:close/>
                  <a:moveTo>
                    <a:pt x="2027551" y="43180"/>
                  </a:moveTo>
                  <a:cubicBezTo>
                    <a:pt x="2025011" y="43180"/>
                    <a:pt x="2022471" y="43180"/>
                    <a:pt x="2020566" y="44450"/>
                  </a:cubicBezTo>
                  <a:cubicBezTo>
                    <a:pt x="2018661" y="45085"/>
                    <a:pt x="2016756" y="46355"/>
                    <a:pt x="2015486" y="48260"/>
                  </a:cubicBezTo>
                  <a:cubicBezTo>
                    <a:pt x="2014216" y="50165"/>
                    <a:pt x="2012946" y="52070"/>
                    <a:pt x="2011676" y="54610"/>
                  </a:cubicBezTo>
                  <a:cubicBezTo>
                    <a:pt x="2011041" y="57150"/>
                    <a:pt x="2010406" y="59690"/>
                    <a:pt x="2009771" y="62865"/>
                  </a:cubicBezTo>
                  <a:lnTo>
                    <a:pt x="2045966" y="62865"/>
                  </a:lnTo>
                  <a:cubicBezTo>
                    <a:pt x="2045966" y="62865"/>
                    <a:pt x="2045331" y="57785"/>
                    <a:pt x="2044696" y="55245"/>
                  </a:cubicBezTo>
                  <a:cubicBezTo>
                    <a:pt x="2044061" y="52705"/>
                    <a:pt x="2042791" y="50800"/>
                    <a:pt x="2041521" y="48895"/>
                  </a:cubicBezTo>
                  <a:cubicBezTo>
                    <a:pt x="2040251" y="46990"/>
                    <a:pt x="2038346" y="45720"/>
                    <a:pt x="2035806" y="44450"/>
                  </a:cubicBezTo>
                  <a:cubicBezTo>
                    <a:pt x="2033266" y="43180"/>
                    <a:pt x="2030726" y="43180"/>
                    <a:pt x="2027551" y="43180"/>
                  </a:cubicBezTo>
                  <a:close/>
                  <a:moveTo>
                    <a:pt x="1949445" y="43180"/>
                  </a:moveTo>
                  <a:cubicBezTo>
                    <a:pt x="1947540" y="43180"/>
                    <a:pt x="1945635" y="43180"/>
                    <a:pt x="1944365" y="43815"/>
                  </a:cubicBezTo>
                  <a:cubicBezTo>
                    <a:pt x="1942460" y="43815"/>
                    <a:pt x="1941190" y="45085"/>
                    <a:pt x="1939285" y="45720"/>
                  </a:cubicBezTo>
                  <a:cubicBezTo>
                    <a:pt x="1938015" y="46355"/>
                    <a:pt x="1936110" y="47625"/>
                    <a:pt x="1934840" y="48895"/>
                  </a:cubicBezTo>
                  <a:cubicBezTo>
                    <a:pt x="1933570" y="50165"/>
                    <a:pt x="1932300" y="51435"/>
                    <a:pt x="1931665" y="52705"/>
                  </a:cubicBezTo>
                  <a:lnTo>
                    <a:pt x="1931665" y="85725"/>
                  </a:lnTo>
                  <a:cubicBezTo>
                    <a:pt x="1931665" y="85725"/>
                    <a:pt x="1933570" y="88265"/>
                    <a:pt x="1934840" y="89535"/>
                  </a:cubicBezTo>
                  <a:cubicBezTo>
                    <a:pt x="1936110" y="90805"/>
                    <a:pt x="1937380" y="92075"/>
                    <a:pt x="1939285" y="92710"/>
                  </a:cubicBezTo>
                  <a:cubicBezTo>
                    <a:pt x="1941190" y="93980"/>
                    <a:pt x="1942460" y="94615"/>
                    <a:pt x="1944365" y="95250"/>
                  </a:cubicBezTo>
                  <a:cubicBezTo>
                    <a:pt x="1946270" y="95250"/>
                    <a:pt x="1948175" y="95885"/>
                    <a:pt x="1950080" y="95885"/>
                  </a:cubicBezTo>
                  <a:cubicBezTo>
                    <a:pt x="1955795" y="95885"/>
                    <a:pt x="1959605" y="93980"/>
                    <a:pt x="1962780" y="89535"/>
                  </a:cubicBezTo>
                  <a:cubicBezTo>
                    <a:pt x="1965955" y="85090"/>
                    <a:pt x="1967225" y="79375"/>
                    <a:pt x="1967225" y="71120"/>
                  </a:cubicBezTo>
                  <a:lnTo>
                    <a:pt x="1966590" y="71755"/>
                  </a:lnTo>
                  <a:cubicBezTo>
                    <a:pt x="1966590" y="62230"/>
                    <a:pt x="1965320" y="54610"/>
                    <a:pt x="1962145" y="50165"/>
                  </a:cubicBezTo>
                  <a:cubicBezTo>
                    <a:pt x="1958970" y="45720"/>
                    <a:pt x="1954525" y="43180"/>
                    <a:pt x="1949445" y="43180"/>
                  </a:cubicBezTo>
                  <a:close/>
                  <a:moveTo>
                    <a:pt x="1829431" y="43180"/>
                  </a:moveTo>
                  <a:cubicBezTo>
                    <a:pt x="1826891" y="43180"/>
                    <a:pt x="1824351" y="43180"/>
                    <a:pt x="1822446" y="44450"/>
                  </a:cubicBezTo>
                  <a:cubicBezTo>
                    <a:pt x="1820541" y="45085"/>
                    <a:pt x="1818636" y="46355"/>
                    <a:pt x="1817366" y="48260"/>
                  </a:cubicBezTo>
                  <a:cubicBezTo>
                    <a:pt x="1816096" y="50165"/>
                    <a:pt x="1814826" y="52070"/>
                    <a:pt x="1813556" y="54610"/>
                  </a:cubicBezTo>
                  <a:cubicBezTo>
                    <a:pt x="1812921" y="57150"/>
                    <a:pt x="1811651" y="59690"/>
                    <a:pt x="1811651" y="62865"/>
                  </a:cubicBezTo>
                  <a:lnTo>
                    <a:pt x="1847846" y="62865"/>
                  </a:lnTo>
                  <a:cubicBezTo>
                    <a:pt x="1847846" y="62865"/>
                    <a:pt x="1847211" y="57785"/>
                    <a:pt x="1846576" y="55245"/>
                  </a:cubicBezTo>
                  <a:cubicBezTo>
                    <a:pt x="1845941" y="52705"/>
                    <a:pt x="1844671" y="50800"/>
                    <a:pt x="1843401" y="48895"/>
                  </a:cubicBezTo>
                  <a:cubicBezTo>
                    <a:pt x="1842131" y="46990"/>
                    <a:pt x="1840226" y="45720"/>
                    <a:pt x="1837686" y="44450"/>
                  </a:cubicBezTo>
                  <a:cubicBezTo>
                    <a:pt x="1835146" y="43180"/>
                    <a:pt x="1832606" y="43180"/>
                    <a:pt x="1829431" y="43180"/>
                  </a:cubicBezTo>
                  <a:close/>
                  <a:moveTo>
                    <a:pt x="1178561" y="43180"/>
                  </a:moveTo>
                  <a:cubicBezTo>
                    <a:pt x="1176021" y="43180"/>
                    <a:pt x="1173481" y="43180"/>
                    <a:pt x="1171576" y="44450"/>
                  </a:cubicBezTo>
                  <a:cubicBezTo>
                    <a:pt x="1169671" y="45085"/>
                    <a:pt x="1167766" y="46355"/>
                    <a:pt x="1166496" y="48260"/>
                  </a:cubicBezTo>
                  <a:cubicBezTo>
                    <a:pt x="1165226" y="50165"/>
                    <a:pt x="1163956" y="52070"/>
                    <a:pt x="1162686" y="54610"/>
                  </a:cubicBezTo>
                  <a:cubicBezTo>
                    <a:pt x="1162051" y="57150"/>
                    <a:pt x="1160781" y="59690"/>
                    <a:pt x="1160781" y="62865"/>
                  </a:cubicBezTo>
                  <a:lnTo>
                    <a:pt x="1196976" y="62865"/>
                  </a:lnTo>
                  <a:cubicBezTo>
                    <a:pt x="1196976" y="62865"/>
                    <a:pt x="1196341" y="57785"/>
                    <a:pt x="1195706" y="55245"/>
                  </a:cubicBezTo>
                  <a:cubicBezTo>
                    <a:pt x="1195071" y="52705"/>
                    <a:pt x="1193801" y="50800"/>
                    <a:pt x="1192531" y="48895"/>
                  </a:cubicBezTo>
                  <a:cubicBezTo>
                    <a:pt x="1191261" y="46990"/>
                    <a:pt x="1189356" y="45720"/>
                    <a:pt x="1186816" y="44450"/>
                  </a:cubicBezTo>
                  <a:cubicBezTo>
                    <a:pt x="1184276" y="43180"/>
                    <a:pt x="1181736" y="43180"/>
                    <a:pt x="1178561" y="43180"/>
                  </a:cubicBezTo>
                  <a:close/>
                  <a:moveTo>
                    <a:pt x="898525" y="43180"/>
                  </a:moveTo>
                  <a:cubicBezTo>
                    <a:pt x="895985" y="43180"/>
                    <a:pt x="893445" y="43180"/>
                    <a:pt x="891540" y="44450"/>
                  </a:cubicBezTo>
                  <a:cubicBezTo>
                    <a:pt x="889635" y="45085"/>
                    <a:pt x="887730" y="46355"/>
                    <a:pt x="886460" y="48260"/>
                  </a:cubicBezTo>
                  <a:cubicBezTo>
                    <a:pt x="885190" y="50165"/>
                    <a:pt x="883920" y="52070"/>
                    <a:pt x="882650" y="54610"/>
                  </a:cubicBezTo>
                  <a:cubicBezTo>
                    <a:pt x="882015" y="57150"/>
                    <a:pt x="881380" y="59690"/>
                    <a:pt x="880745" y="62865"/>
                  </a:cubicBezTo>
                  <a:lnTo>
                    <a:pt x="916940" y="62865"/>
                  </a:lnTo>
                  <a:cubicBezTo>
                    <a:pt x="916940" y="62865"/>
                    <a:pt x="916305" y="57785"/>
                    <a:pt x="915670" y="55245"/>
                  </a:cubicBezTo>
                  <a:cubicBezTo>
                    <a:pt x="915035" y="52705"/>
                    <a:pt x="913765" y="50800"/>
                    <a:pt x="912495" y="48895"/>
                  </a:cubicBezTo>
                  <a:cubicBezTo>
                    <a:pt x="911225" y="46990"/>
                    <a:pt x="909320" y="45720"/>
                    <a:pt x="906780" y="44450"/>
                  </a:cubicBezTo>
                  <a:cubicBezTo>
                    <a:pt x="904240" y="43180"/>
                    <a:pt x="901700" y="43180"/>
                    <a:pt x="898525" y="43180"/>
                  </a:cubicBezTo>
                  <a:close/>
                  <a:moveTo>
                    <a:pt x="584834" y="43180"/>
                  </a:moveTo>
                  <a:cubicBezTo>
                    <a:pt x="582294" y="43180"/>
                    <a:pt x="579754" y="43180"/>
                    <a:pt x="577849" y="44450"/>
                  </a:cubicBezTo>
                  <a:cubicBezTo>
                    <a:pt x="575944" y="45085"/>
                    <a:pt x="574039" y="46355"/>
                    <a:pt x="572769" y="48260"/>
                  </a:cubicBezTo>
                  <a:cubicBezTo>
                    <a:pt x="571499" y="50165"/>
                    <a:pt x="570229" y="52070"/>
                    <a:pt x="568959" y="54610"/>
                  </a:cubicBezTo>
                  <a:cubicBezTo>
                    <a:pt x="568324" y="57150"/>
                    <a:pt x="567689" y="59690"/>
                    <a:pt x="567054" y="62865"/>
                  </a:cubicBezTo>
                  <a:lnTo>
                    <a:pt x="603249" y="62865"/>
                  </a:lnTo>
                  <a:cubicBezTo>
                    <a:pt x="603249" y="62865"/>
                    <a:pt x="602614" y="57785"/>
                    <a:pt x="601979" y="55245"/>
                  </a:cubicBezTo>
                  <a:cubicBezTo>
                    <a:pt x="601344" y="52705"/>
                    <a:pt x="600074" y="50800"/>
                    <a:pt x="598804" y="48895"/>
                  </a:cubicBezTo>
                  <a:cubicBezTo>
                    <a:pt x="597534" y="46990"/>
                    <a:pt x="595629" y="45720"/>
                    <a:pt x="593089" y="44450"/>
                  </a:cubicBezTo>
                  <a:cubicBezTo>
                    <a:pt x="590549" y="43180"/>
                    <a:pt x="588009" y="43180"/>
                    <a:pt x="584834" y="43180"/>
                  </a:cubicBezTo>
                  <a:close/>
                  <a:moveTo>
                    <a:pt x="398145" y="43180"/>
                  </a:moveTo>
                  <a:cubicBezTo>
                    <a:pt x="395605" y="43180"/>
                    <a:pt x="393065" y="43180"/>
                    <a:pt x="391160" y="44450"/>
                  </a:cubicBezTo>
                  <a:cubicBezTo>
                    <a:pt x="389255" y="45085"/>
                    <a:pt x="387350" y="46355"/>
                    <a:pt x="386080" y="48260"/>
                  </a:cubicBezTo>
                  <a:cubicBezTo>
                    <a:pt x="384810" y="50165"/>
                    <a:pt x="383540" y="52070"/>
                    <a:pt x="382270" y="54610"/>
                  </a:cubicBezTo>
                  <a:cubicBezTo>
                    <a:pt x="381635" y="57150"/>
                    <a:pt x="380365" y="59690"/>
                    <a:pt x="380365" y="62865"/>
                  </a:cubicBezTo>
                  <a:lnTo>
                    <a:pt x="416560" y="62865"/>
                  </a:lnTo>
                  <a:cubicBezTo>
                    <a:pt x="416560" y="62865"/>
                    <a:pt x="415925" y="57785"/>
                    <a:pt x="415290" y="55245"/>
                  </a:cubicBezTo>
                  <a:cubicBezTo>
                    <a:pt x="414655" y="52705"/>
                    <a:pt x="413385" y="50800"/>
                    <a:pt x="412115" y="48895"/>
                  </a:cubicBezTo>
                  <a:cubicBezTo>
                    <a:pt x="410845" y="46990"/>
                    <a:pt x="408940" y="45720"/>
                    <a:pt x="406400" y="44450"/>
                  </a:cubicBezTo>
                  <a:cubicBezTo>
                    <a:pt x="403860" y="43180"/>
                    <a:pt x="401320" y="43180"/>
                    <a:pt x="398145" y="43180"/>
                  </a:cubicBezTo>
                  <a:close/>
                  <a:moveTo>
                    <a:pt x="320039" y="43180"/>
                  </a:moveTo>
                  <a:cubicBezTo>
                    <a:pt x="318134" y="43180"/>
                    <a:pt x="316229" y="43180"/>
                    <a:pt x="314959" y="43815"/>
                  </a:cubicBezTo>
                  <a:cubicBezTo>
                    <a:pt x="313054" y="43815"/>
                    <a:pt x="311784" y="45085"/>
                    <a:pt x="309879" y="45720"/>
                  </a:cubicBezTo>
                  <a:cubicBezTo>
                    <a:pt x="308609" y="46355"/>
                    <a:pt x="306704" y="47625"/>
                    <a:pt x="305434" y="48895"/>
                  </a:cubicBezTo>
                  <a:cubicBezTo>
                    <a:pt x="304164" y="50165"/>
                    <a:pt x="302894" y="51435"/>
                    <a:pt x="302259" y="52705"/>
                  </a:cubicBezTo>
                  <a:lnTo>
                    <a:pt x="302259" y="85725"/>
                  </a:lnTo>
                  <a:cubicBezTo>
                    <a:pt x="302259" y="85725"/>
                    <a:pt x="304164" y="88265"/>
                    <a:pt x="305434" y="89535"/>
                  </a:cubicBezTo>
                  <a:cubicBezTo>
                    <a:pt x="306704" y="90805"/>
                    <a:pt x="307974" y="92075"/>
                    <a:pt x="309879" y="92710"/>
                  </a:cubicBezTo>
                  <a:cubicBezTo>
                    <a:pt x="311784" y="93980"/>
                    <a:pt x="313054" y="94615"/>
                    <a:pt x="314959" y="95250"/>
                  </a:cubicBezTo>
                  <a:cubicBezTo>
                    <a:pt x="316864" y="95250"/>
                    <a:pt x="318769" y="95885"/>
                    <a:pt x="320674" y="95885"/>
                  </a:cubicBezTo>
                  <a:cubicBezTo>
                    <a:pt x="326389" y="95885"/>
                    <a:pt x="330199" y="93980"/>
                    <a:pt x="333374" y="89535"/>
                  </a:cubicBezTo>
                  <a:cubicBezTo>
                    <a:pt x="336549" y="85090"/>
                    <a:pt x="337819" y="79375"/>
                    <a:pt x="337819" y="71120"/>
                  </a:cubicBezTo>
                  <a:lnTo>
                    <a:pt x="337184" y="71755"/>
                  </a:lnTo>
                  <a:cubicBezTo>
                    <a:pt x="337184" y="62230"/>
                    <a:pt x="335914" y="54610"/>
                    <a:pt x="332739" y="50165"/>
                  </a:cubicBezTo>
                  <a:cubicBezTo>
                    <a:pt x="329564" y="45720"/>
                    <a:pt x="325119" y="43180"/>
                    <a:pt x="320039" y="43180"/>
                  </a:cubicBezTo>
                  <a:close/>
                  <a:moveTo>
                    <a:pt x="200025" y="43180"/>
                  </a:moveTo>
                  <a:cubicBezTo>
                    <a:pt x="197485" y="43180"/>
                    <a:pt x="194945" y="43180"/>
                    <a:pt x="193040" y="44450"/>
                  </a:cubicBezTo>
                  <a:cubicBezTo>
                    <a:pt x="191135" y="45085"/>
                    <a:pt x="189230" y="46355"/>
                    <a:pt x="187960" y="48260"/>
                  </a:cubicBezTo>
                  <a:cubicBezTo>
                    <a:pt x="186690" y="50165"/>
                    <a:pt x="185420" y="52070"/>
                    <a:pt x="184150" y="54610"/>
                  </a:cubicBezTo>
                  <a:cubicBezTo>
                    <a:pt x="183515" y="57150"/>
                    <a:pt x="182880" y="59690"/>
                    <a:pt x="182245" y="62865"/>
                  </a:cubicBezTo>
                  <a:lnTo>
                    <a:pt x="218440" y="62865"/>
                  </a:lnTo>
                  <a:cubicBezTo>
                    <a:pt x="218440" y="62865"/>
                    <a:pt x="217805" y="57785"/>
                    <a:pt x="217170" y="55245"/>
                  </a:cubicBezTo>
                  <a:cubicBezTo>
                    <a:pt x="216535" y="52705"/>
                    <a:pt x="215265" y="50800"/>
                    <a:pt x="213995" y="48895"/>
                  </a:cubicBezTo>
                  <a:cubicBezTo>
                    <a:pt x="212725" y="46990"/>
                    <a:pt x="210820" y="45720"/>
                    <a:pt x="208280" y="44450"/>
                  </a:cubicBezTo>
                  <a:cubicBezTo>
                    <a:pt x="205740" y="43180"/>
                    <a:pt x="203200" y="43180"/>
                    <a:pt x="200025" y="43180"/>
                  </a:cubicBezTo>
                  <a:close/>
                  <a:moveTo>
                    <a:pt x="4439281" y="43179"/>
                  </a:moveTo>
                  <a:cubicBezTo>
                    <a:pt x="4433566" y="43179"/>
                    <a:pt x="4429756" y="45084"/>
                    <a:pt x="4426581" y="49529"/>
                  </a:cubicBezTo>
                  <a:cubicBezTo>
                    <a:pt x="4423406" y="53974"/>
                    <a:pt x="4422136" y="59689"/>
                    <a:pt x="4422136" y="67944"/>
                  </a:cubicBezTo>
                  <a:cubicBezTo>
                    <a:pt x="4422136" y="73024"/>
                    <a:pt x="4422136" y="76834"/>
                    <a:pt x="4423406" y="80644"/>
                  </a:cubicBezTo>
                  <a:cubicBezTo>
                    <a:pt x="4424041" y="84454"/>
                    <a:pt x="4425311" y="86994"/>
                    <a:pt x="4426581" y="89534"/>
                  </a:cubicBezTo>
                  <a:cubicBezTo>
                    <a:pt x="4427851" y="92074"/>
                    <a:pt x="4429756" y="93344"/>
                    <a:pt x="4432296" y="94614"/>
                  </a:cubicBezTo>
                  <a:cubicBezTo>
                    <a:pt x="4434201" y="95884"/>
                    <a:pt x="4436741" y="96519"/>
                    <a:pt x="4439916" y="96519"/>
                  </a:cubicBezTo>
                  <a:cubicBezTo>
                    <a:pt x="4441821" y="96519"/>
                    <a:pt x="4443726" y="96519"/>
                    <a:pt x="4444996" y="95884"/>
                  </a:cubicBezTo>
                  <a:cubicBezTo>
                    <a:pt x="4446901" y="95884"/>
                    <a:pt x="4448171" y="94614"/>
                    <a:pt x="4450076" y="93344"/>
                  </a:cubicBezTo>
                  <a:cubicBezTo>
                    <a:pt x="4451346" y="92709"/>
                    <a:pt x="4453251" y="91439"/>
                    <a:pt x="4454521" y="90169"/>
                  </a:cubicBezTo>
                  <a:cubicBezTo>
                    <a:pt x="4455791" y="88899"/>
                    <a:pt x="4457061" y="87629"/>
                    <a:pt x="4457696" y="86359"/>
                  </a:cubicBezTo>
                  <a:lnTo>
                    <a:pt x="4457696" y="53339"/>
                  </a:lnTo>
                  <a:cubicBezTo>
                    <a:pt x="4457696" y="53339"/>
                    <a:pt x="4455791" y="50799"/>
                    <a:pt x="4454521" y="49529"/>
                  </a:cubicBezTo>
                  <a:cubicBezTo>
                    <a:pt x="4453251" y="48259"/>
                    <a:pt x="4451981" y="46989"/>
                    <a:pt x="4450076" y="46354"/>
                  </a:cubicBezTo>
                  <a:cubicBezTo>
                    <a:pt x="4448806" y="45084"/>
                    <a:pt x="4446901" y="44449"/>
                    <a:pt x="4444996" y="43814"/>
                  </a:cubicBezTo>
                  <a:cubicBezTo>
                    <a:pt x="4443091" y="43814"/>
                    <a:pt x="4441186" y="43179"/>
                    <a:pt x="4439281" y="43179"/>
                  </a:cubicBezTo>
                  <a:close/>
                  <a:moveTo>
                    <a:pt x="1014731" y="43179"/>
                  </a:moveTo>
                  <a:cubicBezTo>
                    <a:pt x="1009016" y="43179"/>
                    <a:pt x="1005206" y="45084"/>
                    <a:pt x="1002032" y="49529"/>
                  </a:cubicBezTo>
                  <a:cubicBezTo>
                    <a:pt x="998856" y="53974"/>
                    <a:pt x="997587" y="59689"/>
                    <a:pt x="997587" y="67944"/>
                  </a:cubicBezTo>
                  <a:cubicBezTo>
                    <a:pt x="997587" y="77469"/>
                    <a:pt x="998856" y="84454"/>
                    <a:pt x="1002032" y="88899"/>
                  </a:cubicBezTo>
                  <a:cubicBezTo>
                    <a:pt x="1005206" y="93979"/>
                    <a:pt x="1009016" y="95884"/>
                    <a:pt x="1015367" y="95884"/>
                  </a:cubicBezTo>
                  <a:cubicBezTo>
                    <a:pt x="1018541" y="95884"/>
                    <a:pt x="1022352" y="95249"/>
                    <a:pt x="1024891" y="93344"/>
                  </a:cubicBezTo>
                  <a:cubicBezTo>
                    <a:pt x="1028067" y="91439"/>
                    <a:pt x="1030607" y="88899"/>
                    <a:pt x="1033147" y="86359"/>
                  </a:cubicBezTo>
                  <a:lnTo>
                    <a:pt x="1033147" y="53339"/>
                  </a:lnTo>
                  <a:cubicBezTo>
                    <a:pt x="1033147" y="53339"/>
                    <a:pt x="1031242" y="50799"/>
                    <a:pt x="1029971" y="49529"/>
                  </a:cubicBezTo>
                  <a:cubicBezTo>
                    <a:pt x="1028702" y="48259"/>
                    <a:pt x="1027431" y="46989"/>
                    <a:pt x="1025526" y="46354"/>
                  </a:cubicBezTo>
                  <a:cubicBezTo>
                    <a:pt x="1023621" y="45084"/>
                    <a:pt x="1022352" y="44449"/>
                    <a:pt x="1020446" y="43814"/>
                  </a:cubicBezTo>
                  <a:cubicBezTo>
                    <a:pt x="1018541" y="43179"/>
                    <a:pt x="1016636" y="43179"/>
                    <a:pt x="1014731" y="43179"/>
                  </a:cubicBezTo>
                  <a:close/>
                  <a:moveTo>
                    <a:pt x="4524370" y="31114"/>
                  </a:moveTo>
                  <a:lnTo>
                    <a:pt x="4538975" y="31114"/>
                  </a:lnTo>
                  <a:lnTo>
                    <a:pt x="4552310" y="84454"/>
                  </a:lnTo>
                  <a:lnTo>
                    <a:pt x="4566915" y="31114"/>
                  </a:lnTo>
                  <a:lnTo>
                    <a:pt x="4579615" y="31114"/>
                  </a:lnTo>
                  <a:lnTo>
                    <a:pt x="4594220" y="84454"/>
                  </a:lnTo>
                  <a:lnTo>
                    <a:pt x="4606920" y="31114"/>
                  </a:lnTo>
                  <a:lnTo>
                    <a:pt x="4622160" y="31114"/>
                  </a:lnTo>
                  <a:lnTo>
                    <a:pt x="4600570" y="108584"/>
                  </a:lnTo>
                  <a:lnTo>
                    <a:pt x="4587235" y="108584"/>
                  </a:lnTo>
                  <a:lnTo>
                    <a:pt x="4572630" y="54609"/>
                  </a:lnTo>
                  <a:lnTo>
                    <a:pt x="4558660" y="108584"/>
                  </a:lnTo>
                  <a:lnTo>
                    <a:pt x="4545325" y="108584"/>
                  </a:lnTo>
                  <a:close/>
                  <a:moveTo>
                    <a:pt x="4123686" y="31114"/>
                  </a:moveTo>
                  <a:lnTo>
                    <a:pt x="4138926" y="31114"/>
                  </a:lnTo>
                  <a:lnTo>
                    <a:pt x="4152261" y="84454"/>
                  </a:lnTo>
                  <a:lnTo>
                    <a:pt x="4166866" y="31114"/>
                  </a:lnTo>
                  <a:lnTo>
                    <a:pt x="4178931" y="31114"/>
                  </a:lnTo>
                  <a:lnTo>
                    <a:pt x="4193536" y="84454"/>
                  </a:lnTo>
                  <a:lnTo>
                    <a:pt x="4206871" y="31114"/>
                  </a:lnTo>
                  <a:lnTo>
                    <a:pt x="4222111" y="31114"/>
                  </a:lnTo>
                  <a:lnTo>
                    <a:pt x="4200521" y="108584"/>
                  </a:lnTo>
                  <a:lnTo>
                    <a:pt x="4187186" y="108584"/>
                  </a:lnTo>
                  <a:lnTo>
                    <a:pt x="4172581" y="54609"/>
                  </a:lnTo>
                  <a:lnTo>
                    <a:pt x="4157976" y="108584"/>
                  </a:lnTo>
                  <a:lnTo>
                    <a:pt x="4145276" y="108584"/>
                  </a:lnTo>
                  <a:close/>
                  <a:moveTo>
                    <a:pt x="2837811" y="31114"/>
                  </a:moveTo>
                  <a:lnTo>
                    <a:pt x="2852416" y="31114"/>
                  </a:lnTo>
                  <a:lnTo>
                    <a:pt x="2865751" y="84454"/>
                  </a:lnTo>
                  <a:lnTo>
                    <a:pt x="2880356" y="31114"/>
                  </a:lnTo>
                  <a:lnTo>
                    <a:pt x="2893056" y="31114"/>
                  </a:lnTo>
                  <a:lnTo>
                    <a:pt x="2907661" y="84454"/>
                  </a:lnTo>
                  <a:lnTo>
                    <a:pt x="2920361" y="31114"/>
                  </a:lnTo>
                  <a:lnTo>
                    <a:pt x="2935601" y="31114"/>
                  </a:lnTo>
                  <a:lnTo>
                    <a:pt x="2914011" y="108584"/>
                  </a:lnTo>
                  <a:lnTo>
                    <a:pt x="2900676" y="108584"/>
                  </a:lnTo>
                  <a:lnTo>
                    <a:pt x="2886706" y="54609"/>
                  </a:lnTo>
                  <a:lnTo>
                    <a:pt x="2872101" y="108584"/>
                  </a:lnTo>
                  <a:lnTo>
                    <a:pt x="2858766" y="108584"/>
                  </a:lnTo>
                  <a:close/>
                  <a:moveTo>
                    <a:pt x="1354455" y="31114"/>
                  </a:moveTo>
                  <a:lnTo>
                    <a:pt x="1369695" y="31114"/>
                  </a:lnTo>
                  <a:lnTo>
                    <a:pt x="1369695" y="109219"/>
                  </a:lnTo>
                  <a:lnTo>
                    <a:pt x="1354455" y="109219"/>
                  </a:lnTo>
                  <a:close/>
                  <a:moveTo>
                    <a:pt x="2646040" y="29844"/>
                  </a:moveTo>
                  <a:cubicBezTo>
                    <a:pt x="2650485" y="29844"/>
                    <a:pt x="2654295" y="29844"/>
                    <a:pt x="2658105" y="31749"/>
                  </a:cubicBezTo>
                  <a:cubicBezTo>
                    <a:pt x="2661915" y="33019"/>
                    <a:pt x="2665090" y="34289"/>
                    <a:pt x="2667630" y="36829"/>
                  </a:cubicBezTo>
                  <a:cubicBezTo>
                    <a:pt x="2670170" y="38734"/>
                    <a:pt x="2672075" y="41909"/>
                    <a:pt x="2673345" y="45084"/>
                  </a:cubicBezTo>
                  <a:cubicBezTo>
                    <a:pt x="2674615" y="48259"/>
                    <a:pt x="2675250" y="52069"/>
                    <a:pt x="2675250" y="56514"/>
                  </a:cubicBezTo>
                  <a:lnTo>
                    <a:pt x="2675250" y="109854"/>
                  </a:lnTo>
                  <a:lnTo>
                    <a:pt x="2660010" y="109854"/>
                  </a:lnTo>
                  <a:lnTo>
                    <a:pt x="2660010" y="108584"/>
                  </a:lnTo>
                  <a:lnTo>
                    <a:pt x="2660010" y="100964"/>
                  </a:lnTo>
                  <a:cubicBezTo>
                    <a:pt x="2660010" y="100964"/>
                    <a:pt x="2656200" y="104139"/>
                    <a:pt x="2654930" y="104774"/>
                  </a:cubicBezTo>
                  <a:cubicBezTo>
                    <a:pt x="2653660" y="105409"/>
                    <a:pt x="2652390" y="106679"/>
                    <a:pt x="2651120" y="107314"/>
                  </a:cubicBezTo>
                  <a:cubicBezTo>
                    <a:pt x="2649850" y="107949"/>
                    <a:pt x="2647945" y="108584"/>
                    <a:pt x="2646040" y="109219"/>
                  </a:cubicBezTo>
                  <a:cubicBezTo>
                    <a:pt x="2644135" y="109219"/>
                    <a:pt x="2641595" y="109854"/>
                    <a:pt x="2639055" y="109854"/>
                  </a:cubicBezTo>
                  <a:cubicBezTo>
                    <a:pt x="2635880" y="109854"/>
                    <a:pt x="2632705" y="109854"/>
                    <a:pt x="2629530" y="108584"/>
                  </a:cubicBezTo>
                  <a:cubicBezTo>
                    <a:pt x="2626355" y="107949"/>
                    <a:pt x="2623180" y="106044"/>
                    <a:pt x="2620640" y="104139"/>
                  </a:cubicBezTo>
                  <a:cubicBezTo>
                    <a:pt x="2618100" y="102234"/>
                    <a:pt x="2616195" y="99059"/>
                    <a:pt x="2614290" y="95884"/>
                  </a:cubicBezTo>
                  <a:cubicBezTo>
                    <a:pt x="2612385" y="92709"/>
                    <a:pt x="2611750" y="88264"/>
                    <a:pt x="2611750" y="83819"/>
                  </a:cubicBezTo>
                  <a:cubicBezTo>
                    <a:pt x="2611750" y="79374"/>
                    <a:pt x="2612385" y="75564"/>
                    <a:pt x="2614290" y="72389"/>
                  </a:cubicBezTo>
                  <a:cubicBezTo>
                    <a:pt x="2615560" y="69214"/>
                    <a:pt x="2618100" y="66674"/>
                    <a:pt x="2620640" y="64769"/>
                  </a:cubicBezTo>
                  <a:cubicBezTo>
                    <a:pt x="2623180" y="62864"/>
                    <a:pt x="2626990" y="60959"/>
                    <a:pt x="2630800" y="60324"/>
                  </a:cubicBezTo>
                  <a:cubicBezTo>
                    <a:pt x="2634610" y="59054"/>
                    <a:pt x="2638420" y="59054"/>
                    <a:pt x="2642865" y="59054"/>
                  </a:cubicBezTo>
                  <a:cubicBezTo>
                    <a:pt x="2646675" y="59054"/>
                    <a:pt x="2650485" y="59054"/>
                    <a:pt x="2653025" y="59689"/>
                  </a:cubicBezTo>
                  <a:cubicBezTo>
                    <a:pt x="2655565" y="59689"/>
                    <a:pt x="2658105" y="60959"/>
                    <a:pt x="2660010" y="61594"/>
                  </a:cubicBezTo>
                  <a:lnTo>
                    <a:pt x="2660010" y="55879"/>
                  </a:lnTo>
                  <a:cubicBezTo>
                    <a:pt x="2660010" y="51434"/>
                    <a:pt x="2658740" y="48259"/>
                    <a:pt x="2656200" y="46354"/>
                  </a:cubicBezTo>
                  <a:cubicBezTo>
                    <a:pt x="2653660" y="43814"/>
                    <a:pt x="2649850" y="43179"/>
                    <a:pt x="2645405" y="43179"/>
                  </a:cubicBezTo>
                  <a:cubicBezTo>
                    <a:pt x="2641595" y="43179"/>
                    <a:pt x="2637785" y="43179"/>
                    <a:pt x="2634610" y="44449"/>
                  </a:cubicBezTo>
                  <a:cubicBezTo>
                    <a:pt x="2631435" y="45084"/>
                    <a:pt x="2628260" y="46354"/>
                    <a:pt x="2625085" y="48259"/>
                  </a:cubicBezTo>
                  <a:lnTo>
                    <a:pt x="2619370" y="36829"/>
                  </a:lnTo>
                  <a:cubicBezTo>
                    <a:pt x="2623180" y="34289"/>
                    <a:pt x="2626990" y="33019"/>
                    <a:pt x="2631435" y="31749"/>
                  </a:cubicBezTo>
                  <a:cubicBezTo>
                    <a:pt x="2635880" y="30479"/>
                    <a:pt x="2640325" y="29844"/>
                    <a:pt x="2646040" y="29844"/>
                  </a:cubicBezTo>
                  <a:close/>
                  <a:moveTo>
                    <a:pt x="1114426" y="29844"/>
                  </a:moveTo>
                  <a:lnTo>
                    <a:pt x="1129666" y="29844"/>
                  </a:lnTo>
                  <a:lnTo>
                    <a:pt x="1129666" y="107949"/>
                  </a:lnTo>
                  <a:lnTo>
                    <a:pt x="1114426" y="107949"/>
                  </a:lnTo>
                  <a:lnTo>
                    <a:pt x="1114426" y="100964"/>
                  </a:lnTo>
                  <a:cubicBezTo>
                    <a:pt x="1114426" y="100964"/>
                    <a:pt x="1109981" y="106044"/>
                    <a:pt x="1106171" y="107314"/>
                  </a:cubicBezTo>
                  <a:cubicBezTo>
                    <a:pt x="1102996" y="109219"/>
                    <a:pt x="1098551" y="109854"/>
                    <a:pt x="1094741" y="109854"/>
                  </a:cubicBezTo>
                  <a:cubicBezTo>
                    <a:pt x="1085851" y="109854"/>
                    <a:pt x="1078866" y="106679"/>
                    <a:pt x="1073786" y="100964"/>
                  </a:cubicBezTo>
                  <a:cubicBezTo>
                    <a:pt x="1069341" y="95249"/>
                    <a:pt x="1066800" y="86359"/>
                    <a:pt x="1066800" y="74929"/>
                  </a:cubicBezTo>
                  <a:lnTo>
                    <a:pt x="1066800" y="30479"/>
                  </a:lnTo>
                  <a:lnTo>
                    <a:pt x="1082040" y="30479"/>
                  </a:lnTo>
                  <a:lnTo>
                    <a:pt x="1082040" y="74294"/>
                  </a:lnTo>
                  <a:cubicBezTo>
                    <a:pt x="1082040" y="81279"/>
                    <a:pt x="1083311" y="86994"/>
                    <a:pt x="1085851" y="90169"/>
                  </a:cubicBezTo>
                  <a:cubicBezTo>
                    <a:pt x="1088390" y="93979"/>
                    <a:pt x="1092201" y="95249"/>
                    <a:pt x="1097916" y="95249"/>
                  </a:cubicBezTo>
                  <a:cubicBezTo>
                    <a:pt x="1102996" y="95249"/>
                    <a:pt x="1106806" y="93344"/>
                    <a:pt x="1109981" y="90169"/>
                  </a:cubicBezTo>
                  <a:cubicBezTo>
                    <a:pt x="1112521" y="86994"/>
                    <a:pt x="1114426" y="81914"/>
                    <a:pt x="1114426" y="75564"/>
                  </a:cubicBezTo>
                  <a:close/>
                  <a:moveTo>
                    <a:pt x="1011556" y="29844"/>
                  </a:moveTo>
                  <a:cubicBezTo>
                    <a:pt x="1013461" y="29844"/>
                    <a:pt x="1015367" y="29844"/>
                    <a:pt x="1017272" y="30479"/>
                  </a:cubicBezTo>
                  <a:cubicBezTo>
                    <a:pt x="1019176" y="30479"/>
                    <a:pt x="1021081" y="31749"/>
                    <a:pt x="1022352" y="32384"/>
                  </a:cubicBezTo>
                  <a:cubicBezTo>
                    <a:pt x="1024257" y="33019"/>
                    <a:pt x="1025526" y="34289"/>
                    <a:pt x="1026797" y="35559"/>
                  </a:cubicBezTo>
                  <a:cubicBezTo>
                    <a:pt x="1028067" y="36829"/>
                    <a:pt x="1029336" y="37464"/>
                    <a:pt x="1030607" y="38734"/>
                  </a:cubicBezTo>
                  <a:lnTo>
                    <a:pt x="1030607" y="31749"/>
                  </a:lnTo>
                  <a:lnTo>
                    <a:pt x="1045847" y="31749"/>
                  </a:lnTo>
                  <a:lnTo>
                    <a:pt x="1045847" y="130809"/>
                  </a:lnTo>
                  <a:lnTo>
                    <a:pt x="1032512" y="137477"/>
                  </a:lnTo>
                  <a:lnTo>
                    <a:pt x="1032512" y="101599"/>
                  </a:lnTo>
                  <a:cubicBezTo>
                    <a:pt x="1032512" y="101599"/>
                    <a:pt x="1026797" y="106679"/>
                    <a:pt x="1022986" y="107949"/>
                  </a:cubicBezTo>
                  <a:cubicBezTo>
                    <a:pt x="1019812" y="109854"/>
                    <a:pt x="1016001" y="110489"/>
                    <a:pt x="1011556" y="110489"/>
                  </a:cubicBezTo>
                  <a:cubicBezTo>
                    <a:pt x="1007111" y="110489"/>
                    <a:pt x="1003301" y="109854"/>
                    <a:pt x="999491" y="107949"/>
                  </a:cubicBezTo>
                  <a:cubicBezTo>
                    <a:pt x="995681" y="106679"/>
                    <a:pt x="992506" y="104139"/>
                    <a:pt x="989966" y="100329"/>
                  </a:cubicBezTo>
                  <a:cubicBezTo>
                    <a:pt x="987426" y="97154"/>
                    <a:pt x="984886" y="92709"/>
                    <a:pt x="983616" y="87629"/>
                  </a:cubicBezTo>
                  <a:cubicBezTo>
                    <a:pt x="982346" y="82549"/>
                    <a:pt x="981076" y="76199"/>
                    <a:pt x="981076" y="68579"/>
                  </a:cubicBezTo>
                  <a:cubicBezTo>
                    <a:pt x="981076" y="61594"/>
                    <a:pt x="981711" y="55879"/>
                    <a:pt x="983616" y="51434"/>
                  </a:cubicBezTo>
                  <a:cubicBezTo>
                    <a:pt x="985521" y="46354"/>
                    <a:pt x="987426" y="42544"/>
                    <a:pt x="990601" y="39369"/>
                  </a:cubicBezTo>
                  <a:cubicBezTo>
                    <a:pt x="993142" y="36194"/>
                    <a:pt x="996951" y="33654"/>
                    <a:pt x="1000126" y="32384"/>
                  </a:cubicBezTo>
                  <a:cubicBezTo>
                    <a:pt x="1003937" y="31114"/>
                    <a:pt x="1007746" y="29844"/>
                    <a:pt x="1011556" y="29844"/>
                  </a:cubicBezTo>
                  <a:close/>
                  <a:moveTo>
                    <a:pt x="4871716" y="29210"/>
                  </a:moveTo>
                  <a:cubicBezTo>
                    <a:pt x="4876796" y="29210"/>
                    <a:pt x="4881241" y="29845"/>
                    <a:pt x="4885686" y="31750"/>
                  </a:cubicBezTo>
                  <a:cubicBezTo>
                    <a:pt x="4890131" y="33655"/>
                    <a:pt x="4894576" y="35560"/>
                    <a:pt x="4897751" y="38100"/>
                  </a:cubicBezTo>
                  <a:lnTo>
                    <a:pt x="4899021" y="38100"/>
                  </a:lnTo>
                  <a:lnTo>
                    <a:pt x="4892036" y="50165"/>
                  </a:lnTo>
                  <a:cubicBezTo>
                    <a:pt x="4888861" y="47625"/>
                    <a:pt x="4885686" y="46355"/>
                    <a:pt x="4882511" y="45085"/>
                  </a:cubicBezTo>
                  <a:cubicBezTo>
                    <a:pt x="4879336" y="43815"/>
                    <a:pt x="4875526" y="43180"/>
                    <a:pt x="4872351" y="43180"/>
                  </a:cubicBezTo>
                  <a:cubicBezTo>
                    <a:pt x="4869176" y="43180"/>
                    <a:pt x="4866001" y="43815"/>
                    <a:pt x="4864096" y="45085"/>
                  </a:cubicBezTo>
                  <a:cubicBezTo>
                    <a:pt x="4862191" y="46355"/>
                    <a:pt x="4861556" y="48260"/>
                    <a:pt x="4861556" y="50165"/>
                  </a:cubicBezTo>
                  <a:cubicBezTo>
                    <a:pt x="4861556" y="51435"/>
                    <a:pt x="4861556" y="52070"/>
                    <a:pt x="4861556" y="52705"/>
                  </a:cubicBezTo>
                  <a:cubicBezTo>
                    <a:pt x="4861556" y="53340"/>
                    <a:pt x="4862826" y="54610"/>
                    <a:pt x="4863461" y="55245"/>
                  </a:cubicBezTo>
                  <a:cubicBezTo>
                    <a:pt x="4864731" y="55880"/>
                    <a:pt x="4866001" y="57150"/>
                    <a:pt x="4867906" y="57785"/>
                  </a:cubicBezTo>
                  <a:cubicBezTo>
                    <a:pt x="4869811" y="59055"/>
                    <a:pt x="4872351" y="59690"/>
                    <a:pt x="4874891" y="60960"/>
                  </a:cubicBezTo>
                  <a:cubicBezTo>
                    <a:pt x="4879336" y="62865"/>
                    <a:pt x="4883146" y="64135"/>
                    <a:pt x="4886321" y="66040"/>
                  </a:cubicBezTo>
                  <a:cubicBezTo>
                    <a:pt x="4889496" y="67310"/>
                    <a:pt x="4892036" y="69215"/>
                    <a:pt x="4894576" y="71120"/>
                  </a:cubicBezTo>
                  <a:cubicBezTo>
                    <a:pt x="4896481" y="73025"/>
                    <a:pt x="4898386" y="75565"/>
                    <a:pt x="4899656" y="78105"/>
                  </a:cubicBezTo>
                  <a:cubicBezTo>
                    <a:pt x="4900926" y="80645"/>
                    <a:pt x="4901561" y="83820"/>
                    <a:pt x="4901561" y="87630"/>
                  </a:cubicBezTo>
                  <a:cubicBezTo>
                    <a:pt x="4901561" y="92075"/>
                    <a:pt x="4900926" y="95250"/>
                    <a:pt x="4899021" y="98425"/>
                  </a:cubicBezTo>
                  <a:cubicBezTo>
                    <a:pt x="4897116" y="101600"/>
                    <a:pt x="4895211" y="103505"/>
                    <a:pt x="4892671" y="105410"/>
                  </a:cubicBezTo>
                  <a:cubicBezTo>
                    <a:pt x="4890131" y="107315"/>
                    <a:pt x="4886956" y="108585"/>
                    <a:pt x="4883146" y="109220"/>
                  </a:cubicBezTo>
                  <a:cubicBezTo>
                    <a:pt x="4879336" y="109855"/>
                    <a:pt x="4876161" y="110490"/>
                    <a:pt x="4872351" y="110490"/>
                  </a:cubicBezTo>
                  <a:cubicBezTo>
                    <a:pt x="4867271" y="110490"/>
                    <a:pt x="4862191" y="109855"/>
                    <a:pt x="4857111" y="107950"/>
                  </a:cubicBezTo>
                  <a:cubicBezTo>
                    <a:pt x="4851396" y="106045"/>
                    <a:pt x="4846951" y="103505"/>
                    <a:pt x="4842506" y="100965"/>
                  </a:cubicBezTo>
                  <a:lnTo>
                    <a:pt x="4849491" y="89535"/>
                  </a:lnTo>
                  <a:cubicBezTo>
                    <a:pt x="4853301" y="92075"/>
                    <a:pt x="4857111" y="93980"/>
                    <a:pt x="4860921" y="95250"/>
                  </a:cubicBezTo>
                  <a:cubicBezTo>
                    <a:pt x="4864731" y="96520"/>
                    <a:pt x="4868541" y="97155"/>
                    <a:pt x="4872351" y="97155"/>
                  </a:cubicBezTo>
                  <a:cubicBezTo>
                    <a:pt x="4877431" y="97155"/>
                    <a:pt x="4880606" y="96520"/>
                    <a:pt x="4883146" y="94615"/>
                  </a:cubicBezTo>
                  <a:cubicBezTo>
                    <a:pt x="4885686" y="93345"/>
                    <a:pt x="4886321" y="90805"/>
                    <a:pt x="4886321" y="88265"/>
                  </a:cubicBezTo>
                  <a:cubicBezTo>
                    <a:pt x="4886321" y="86995"/>
                    <a:pt x="4886321" y="85725"/>
                    <a:pt x="4885051" y="84455"/>
                  </a:cubicBezTo>
                  <a:cubicBezTo>
                    <a:pt x="4884416" y="83185"/>
                    <a:pt x="4883146" y="82550"/>
                    <a:pt x="4881241" y="81280"/>
                  </a:cubicBezTo>
                  <a:cubicBezTo>
                    <a:pt x="4879971" y="80010"/>
                    <a:pt x="4878066" y="79375"/>
                    <a:pt x="4875526" y="78105"/>
                  </a:cubicBezTo>
                  <a:cubicBezTo>
                    <a:pt x="4872986" y="77470"/>
                    <a:pt x="4871081" y="76200"/>
                    <a:pt x="4867906" y="74930"/>
                  </a:cubicBezTo>
                  <a:cubicBezTo>
                    <a:pt x="4863461" y="73025"/>
                    <a:pt x="4860286" y="71755"/>
                    <a:pt x="4857111" y="69850"/>
                  </a:cubicBezTo>
                  <a:cubicBezTo>
                    <a:pt x="4853936" y="67945"/>
                    <a:pt x="4852031" y="66675"/>
                    <a:pt x="4850126" y="64770"/>
                  </a:cubicBezTo>
                  <a:cubicBezTo>
                    <a:pt x="4848221" y="62865"/>
                    <a:pt x="4846951" y="60960"/>
                    <a:pt x="4846316" y="58420"/>
                  </a:cubicBezTo>
                  <a:cubicBezTo>
                    <a:pt x="4845681" y="55880"/>
                    <a:pt x="4845046" y="53340"/>
                    <a:pt x="4845046" y="50165"/>
                  </a:cubicBezTo>
                  <a:cubicBezTo>
                    <a:pt x="4845046" y="46990"/>
                    <a:pt x="4845681" y="43815"/>
                    <a:pt x="4846951" y="40640"/>
                  </a:cubicBezTo>
                  <a:cubicBezTo>
                    <a:pt x="4848221" y="38100"/>
                    <a:pt x="4850126" y="35560"/>
                    <a:pt x="4852666" y="34290"/>
                  </a:cubicBezTo>
                  <a:cubicBezTo>
                    <a:pt x="4855206" y="32385"/>
                    <a:pt x="4857746" y="31115"/>
                    <a:pt x="4860921" y="30480"/>
                  </a:cubicBezTo>
                  <a:cubicBezTo>
                    <a:pt x="4864096" y="29845"/>
                    <a:pt x="4867906" y="29210"/>
                    <a:pt x="4871716" y="29210"/>
                  </a:cubicBezTo>
                  <a:close/>
                  <a:moveTo>
                    <a:pt x="4749796" y="29210"/>
                  </a:moveTo>
                  <a:cubicBezTo>
                    <a:pt x="4752971" y="29210"/>
                    <a:pt x="4755511" y="29210"/>
                    <a:pt x="4757416" y="29845"/>
                  </a:cubicBezTo>
                  <a:cubicBezTo>
                    <a:pt x="4759321" y="30480"/>
                    <a:pt x="4761226" y="31115"/>
                    <a:pt x="4763131" y="32385"/>
                  </a:cubicBezTo>
                  <a:lnTo>
                    <a:pt x="4759321" y="46990"/>
                  </a:lnTo>
                  <a:lnTo>
                    <a:pt x="4758051" y="46990"/>
                  </a:lnTo>
                  <a:cubicBezTo>
                    <a:pt x="4758051" y="46990"/>
                    <a:pt x="4754876" y="45085"/>
                    <a:pt x="4752971" y="45085"/>
                  </a:cubicBezTo>
                  <a:cubicBezTo>
                    <a:pt x="4751066" y="45085"/>
                    <a:pt x="4749161" y="44450"/>
                    <a:pt x="4746621" y="44450"/>
                  </a:cubicBezTo>
                  <a:cubicBezTo>
                    <a:pt x="4741541" y="44450"/>
                    <a:pt x="4737731" y="46355"/>
                    <a:pt x="4735191" y="49530"/>
                  </a:cubicBezTo>
                  <a:cubicBezTo>
                    <a:pt x="4732651" y="52705"/>
                    <a:pt x="4731381" y="57785"/>
                    <a:pt x="4731381" y="64770"/>
                  </a:cubicBezTo>
                  <a:lnTo>
                    <a:pt x="4731381" y="109220"/>
                  </a:lnTo>
                  <a:lnTo>
                    <a:pt x="4716141" y="109220"/>
                  </a:lnTo>
                  <a:lnTo>
                    <a:pt x="4716141" y="31115"/>
                  </a:lnTo>
                  <a:lnTo>
                    <a:pt x="4731381" y="31115"/>
                  </a:lnTo>
                  <a:lnTo>
                    <a:pt x="4731381" y="38735"/>
                  </a:lnTo>
                  <a:cubicBezTo>
                    <a:pt x="4731381" y="38735"/>
                    <a:pt x="4733286" y="36195"/>
                    <a:pt x="4734556" y="34925"/>
                  </a:cubicBezTo>
                  <a:cubicBezTo>
                    <a:pt x="4735826" y="33655"/>
                    <a:pt x="4737096" y="33020"/>
                    <a:pt x="4739001" y="31750"/>
                  </a:cubicBezTo>
                  <a:cubicBezTo>
                    <a:pt x="4740271" y="31115"/>
                    <a:pt x="4742176" y="30480"/>
                    <a:pt x="4744081" y="29845"/>
                  </a:cubicBezTo>
                  <a:cubicBezTo>
                    <a:pt x="4745986" y="29845"/>
                    <a:pt x="4747891" y="29210"/>
                    <a:pt x="4749796" y="29210"/>
                  </a:cubicBezTo>
                  <a:close/>
                  <a:moveTo>
                    <a:pt x="4349110" y="29210"/>
                  </a:moveTo>
                  <a:cubicBezTo>
                    <a:pt x="4352285" y="29210"/>
                    <a:pt x="4354825" y="29210"/>
                    <a:pt x="4356730" y="29845"/>
                  </a:cubicBezTo>
                  <a:cubicBezTo>
                    <a:pt x="4358635" y="29845"/>
                    <a:pt x="4360540" y="31115"/>
                    <a:pt x="4362445" y="32385"/>
                  </a:cubicBezTo>
                  <a:lnTo>
                    <a:pt x="4358635" y="46990"/>
                  </a:lnTo>
                  <a:lnTo>
                    <a:pt x="4357365" y="46990"/>
                  </a:lnTo>
                  <a:cubicBezTo>
                    <a:pt x="4357365" y="46990"/>
                    <a:pt x="4354190" y="45085"/>
                    <a:pt x="4352285" y="45085"/>
                  </a:cubicBezTo>
                  <a:cubicBezTo>
                    <a:pt x="4350380" y="45085"/>
                    <a:pt x="4348475" y="44450"/>
                    <a:pt x="4345935" y="44450"/>
                  </a:cubicBezTo>
                  <a:cubicBezTo>
                    <a:pt x="4340855" y="44450"/>
                    <a:pt x="4337045" y="46355"/>
                    <a:pt x="4334505" y="49530"/>
                  </a:cubicBezTo>
                  <a:cubicBezTo>
                    <a:pt x="4331965" y="52705"/>
                    <a:pt x="4330695" y="57785"/>
                    <a:pt x="4330695" y="64770"/>
                  </a:cubicBezTo>
                  <a:lnTo>
                    <a:pt x="4330695" y="109220"/>
                  </a:lnTo>
                  <a:lnTo>
                    <a:pt x="4315455" y="109220"/>
                  </a:lnTo>
                  <a:lnTo>
                    <a:pt x="4315455" y="31115"/>
                  </a:lnTo>
                  <a:lnTo>
                    <a:pt x="4330695" y="31115"/>
                  </a:lnTo>
                  <a:lnTo>
                    <a:pt x="4330695" y="38735"/>
                  </a:lnTo>
                  <a:cubicBezTo>
                    <a:pt x="4330695" y="38735"/>
                    <a:pt x="4332600" y="36195"/>
                    <a:pt x="4333870" y="34925"/>
                  </a:cubicBezTo>
                  <a:cubicBezTo>
                    <a:pt x="4335140" y="33655"/>
                    <a:pt x="4336410" y="33020"/>
                    <a:pt x="4338315" y="31750"/>
                  </a:cubicBezTo>
                  <a:cubicBezTo>
                    <a:pt x="4339585" y="31115"/>
                    <a:pt x="4341490" y="30480"/>
                    <a:pt x="4343395" y="29845"/>
                  </a:cubicBezTo>
                  <a:cubicBezTo>
                    <a:pt x="4345300" y="29845"/>
                    <a:pt x="4347205" y="29210"/>
                    <a:pt x="4349110" y="29210"/>
                  </a:cubicBezTo>
                  <a:close/>
                  <a:moveTo>
                    <a:pt x="4044310" y="29210"/>
                  </a:moveTo>
                  <a:cubicBezTo>
                    <a:pt x="4050025" y="29210"/>
                    <a:pt x="4054470" y="30480"/>
                    <a:pt x="4058915" y="32385"/>
                  </a:cubicBezTo>
                  <a:cubicBezTo>
                    <a:pt x="4062725" y="34290"/>
                    <a:pt x="4066535" y="37465"/>
                    <a:pt x="4069075" y="40640"/>
                  </a:cubicBezTo>
                  <a:cubicBezTo>
                    <a:pt x="4071615" y="44450"/>
                    <a:pt x="4073520" y="48260"/>
                    <a:pt x="4075425" y="53340"/>
                  </a:cubicBezTo>
                  <a:cubicBezTo>
                    <a:pt x="4076695" y="57785"/>
                    <a:pt x="4077330" y="62865"/>
                    <a:pt x="4077330" y="68580"/>
                  </a:cubicBezTo>
                  <a:lnTo>
                    <a:pt x="4076060" y="68580"/>
                  </a:lnTo>
                  <a:cubicBezTo>
                    <a:pt x="4076060" y="68580"/>
                    <a:pt x="4076060" y="71120"/>
                    <a:pt x="4076060" y="72390"/>
                  </a:cubicBezTo>
                  <a:cubicBezTo>
                    <a:pt x="4076060" y="73660"/>
                    <a:pt x="4076060" y="74295"/>
                    <a:pt x="4076060" y="75565"/>
                  </a:cubicBezTo>
                  <a:lnTo>
                    <a:pt x="4024625" y="75565"/>
                  </a:lnTo>
                  <a:cubicBezTo>
                    <a:pt x="4024625" y="79375"/>
                    <a:pt x="4025895" y="82550"/>
                    <a:pt x="4027165" y="85090"/>
                  </a:cubicBezTo>
                  <a:cubicBezTo>
                    <a:pt x="4028435" y="87630"/>
                    <a:pt x="4029705" y="90170"/>
                    <a:pt x="4031610" y="91440"/>
                  </a:cubicBezTo>
                  <a:cubicBezTo>
                    <a:pt x="4033515" y="93345"/>
                    <a:pt x="4035420" y="94615"/>
                    <a:pt x="4037325" y="95250"/>
                  </a:cubicBezTo>
                  <a:cubicBezTo>
                    <a:pt x="4039230" y="95885"/>
                    <a:pt x="4041770" y="96520"/>
                    <a:pt x="4044310" y="96520"/>
                  </a:cubicBezTo>
                  <a:cubicBezTo>
                    <a:pt x="4046215" y="96520"/>
                    <a:pt x="4047485" y="96520"/>
                    <a:pt x="4049390" y="96520"/>
                  </a:cubicBezTo>
                  <a:cubicBezTo>
                    <a:pt x="4050660" y="96520"/>
                    <a:pt x="4052565" y="95885"/>
                    <a:pt x="4053835" y="95250"/>
                  </a:cubicBezTo>
                  <a:cubicBezTo>
                    <a:pt x="4055105" y="95250"/>
                    <a:pt x="4056375" y="93980"/>
                    <a:pt x="4057645" y="93345"/>
                  </a:cubicBezTo>
                  <a:cubicBezTo>
                    <a:pt x="4058915" y="93345"/>
                    <a:pt x="4060185" y="92075"/>
                    <a:pt x="4062090" y="90805"/>
                  </a:cubicBezTo>
                  <a:lnTo>
                    <a:pt x="4070980" y="100330"/>
                  </a:lnTo>
                  <a:cubicBezTo>
                    <a:pt x="4070980" y="100330"/>
                    <a:pt x="4067170" y="103505"/>
                    <a:pt x="4065265" y="104775"/>
                  </a:cubicBezTo>
                  <a:cubicBezTo>
                    <a:pt x="4063360" y="106045"/>
                    <a:pt x="4061455" y="106680"/>
                    <a:pt x="4059550" y="107950"/>
                  </a:cubicBezTo>
                  <a:cubicBezTo>
                    <a:pt x="4057645" y="108585"/>
                    <a:pt x="4055105" y="109855"/>
                    <a:pt x="4052565" y="109855"/>
                  </a:cubicBezTo>
                  <a:cubicBezTo>
                    <a:pt x="4050025" y="109855"/>
                    <a:pt x="4046850" y="110490"/>
                    <a:pt x="4043675" y="110490"/>
                  </a:cubicBezTo>
                  <a:cubicBezTo>
                    <a:pt x="4040500" y="110490"/>
                    <a:pt x="4037325" y="110490"/>
                    <a:pt x="4034150" y="109220"/>
                  </a:cubicBezTo>
                  <a:cubicBezTo>
                    <a:pt x="4030975" y="108585"/>
                    <a:pt x="4028435" y="107315"/>
                    <a:pt x="4026530" y="105410"/>
                  </a:cubicBezTo>
                  <a:cubicBezTo>
                    <a:pt x="4023990" y="104140"/>
                    <a:pt x="4022085" y="102235"/>
                    <a:pt x="4020180" y="100330"/>
                  </a:cubicBezTo>
                  <a:cubicBezTo>
                    <a:pt x="4018275" y="98425"/>
                    <a:pt x="4016370" y="95885"/>
                    <a:pt x="4015100" y="92710"/>
                  </a:cubicBezTo>
                  <a:cubicBezTo>
                    <a:pt x="4013195" y="89535"/>
                    <a:pt x="4011925" y="86360"/>
                    <a:pt x="4011290" y="82550"/>
                  </a:cubicBezTo>
                  <a:cubicBezTo>
                    <a:pt x="4010655" y="78740"/>
                    <a:pt x="4010020" y="74295"/>
                    <a:pt x="4010020" y="69850"/>
                  </a:cubicBezTo>
                  <a:cubicBezTo>
                    <a:pt x="4010020" y="63500"/>
                    <a:pt x="4010655" y="57150"/>
                    <a:pt x="4012560" y="52070"/>
                  </a:cubicBezTo>
                  <a:cubicBezTo>
                    <a:pt x="4014465" y="46990"/>
                    <a:pt x="4016370" y="42545"/>
                    <a:pt x="4019545" y="39370"/>
                  </a:cubicBezTo>
                  <a:cubicBezTo>
                    <a:pt x="4022720" y="36195"/>
                    <a:pt x="4025895" y="33020"/>
                    <a:pt x="4030340" y="31750"/>
                  </a:cubicBezTo>
                  <a:cubicBezTo>
                    <a:pt x="4034785" y="29845"/>
                    <a:pt x="4039230" y="29210"/>
                    <a:pt x="4044310" y="29210"/>
                  </a:cubicBezTo>
                  <a:close/>
                  <a:moveTo>
                    <a:pt x="3811900" y="29210"/>
                  </a:moveTo>
                  <a:cubicBezTo>
                    <a:pt x="3815075" y="29210"/>
                    <a:pt x="3817615" y="29210"/>
                    <a:pt x="3819520" y="29845"/>
                  </a:cubicBezTo>
                  <a:cubicBezTo>
                    <a:pt x="3821425" y="29845"/>
                    <a:pt x="3823330" y="31115"/>
                    <a:pt x="3825235" y="32385"/>
                  </a:cubicBezTo>
                  <a:lnTo>
                    <a:pt x="3821425" y="46990"/>
                  </a:lnTo>
                  <a:lnTo>
                    <a:pt x="3820155" y="46990"/>
                  </a:lnTo>
                  <a:cubicBezTo>
                    <a:pt x="3820155" y="46990"/>
                    <a:pt x="3816980" y="45085"/>
                    <a:pt x="3815075" y="45085"/>
                  </a:cubicBezTo>
                  <a:cubicBezTo>
                    <a:pt x="3813170" y="45085"/>
                    <a:pt x="3811265" y="44450"/>
                    <a:pt x="3808725" y="44450"/>
                  </a:cubicBezTo>
                  <a:cubicBezTo>
                    <a:pt x="3803645" y="44450"/>
                    <a:pt x="3799835" y="46355"/>
                    <a:pt x="3797295" y="49530"/>
                  </a:cubicBezTo>
                  <a:cubicBezTo>
                    <a:pt x="3794755" y="52705"/>
                    <a:pt x="3793485" y="57785"/>
                    <a:pt x="3793485" y="64770"/>
                  </a:cubicBezTo>
                  <a:lnTo>
                    <a:pt x="3793485" y="109220"/>
                  </a:lnTo>
                  <a:lnTo>
                    <a:pt x="3778245" y="109220"/>
                  </a:lnTo>
                  <a:lnTo>
                    <a:pt x="3778245" y="31115"/>
                  </a:lnTo>
                  <a:lnTo>
                    <a:pt x="3793485" y="31115"/>
                  </a:lnTo>
                  <a:lnTo>
                    <a:pt x="3793485" y="38735"/>
                  </a:lnTo>
                  <a:cubicBezTo>
                    <a:pt x="3793485" y="38735"/>
                    <a:pt x="3795390" y="36195"/>
                    <a:pt x="3796660" y="34925"/>
                  </a:cubicBezTo>
                  <a:cubicBezTo>
                    <a:pt x="3797930" y="33655"/>
                    <a:pt x="3799200" y="33020"/>
                    <a:pt x="3801105" y="31750"/>
                  </a:cubicBezTo>
                  <a:cubicBezTo>
                    <a:pt x="3802375" y="31115"/>
                    <a:pt x="3804280" y="30480"/>
                    <a:pt x="3806185" y="29845"/>
                  </a:cubicBezTo>
                  <a:cubicBezTo>
                    <a:pt x="3808090" y="29845"/>
                    <a:pt x="3809995" y="29210"/>
                    <a:pt x="3811900" y="29210"/>
                  </a:cubicBezTo>
                  <a:close/>
                  <a:moveTo>
                    <a:pt x="3729986" y="29210"/>
                  </a:moveTo>
                  <a:cubicBezTo>
                    <a:pt x="3735701" y="29210"/>
                    <a:pt x="3740146" y="30480"/>
                    <a:pt x="3744591" y="32385"/>
                  </a:cubicBezTo>
                  <a:cubicBezTo>
                    <a:pt x="3748401" y="34290"/>
                    <a:pt x="3752211" y="37465"/>
                    <a:pt x="3754751" y="40640"/>
                  </a:cubicBezTo>
                  <a:cubicBezTo>
                    <a:pt x="3757291" y="44450"/>
                    <a:pt x="3759196" y="48260"/>
                    <a:pt x="3761101" y="53340"/>
                  </a:cubicBezTo>
                  <a:cubicBezTo>
                    <a:pt x="3762371" y="57785"/>
                    <a:pt x="3763006" y="62865"/>
                    <a:pt x="3763006" y="68580"/>
                  </a:cubicBezTo>
                  <a:lnTo>
                    <a:pt x="3761736" y="68580"/>
                  </a:lnTo>
                  <a:cubicBezTo>
                    <a:pt x="3761736" y="68580"/>
                    <a:pt x="3761736" y="71120"/>
                    <a:pt x="3761736" y="72390"/>
                  </a:cubicBezTo>
                  <a:cubicBezTo>
                    <a:pt x="3761736" y="73660"/>
                    <a:pt x="3761736" y="74295"/>
                    <a:pt x="3761736" y="75565"/>
                  </a:cubicBezTo>
                  <a:lnTo>
                    <a:pt x="3710301" y="75565"/>
                  </a:lnTo>
                  <a:cubicBezTo>
                    <a:pt x="3710301" y="79375"/>
                    <a:pt x="3711571" y="82550"/>
                    <a:pt x="3712841" y="85090"/>
                  </a:cubicBezTo>
                  <a:cubicBezTo>
                    <a:pt x="3714111" y="87630"/>
                    <a:pt x="3715381" y="90170"/>
                    <a:pt x="3717286" y="91440"/>
                  </a:cubicBezTo>
                  <a:cubicBezTo>
                    <a:pt x="3719191" y="93345"/>
                    <a:pt x="3721096" y="94615"/>
                    <a:pt x="3723001" y="95250"/>
                  </a:cubicBezTo>
                  <a:cubicBezTo>
                    <a:pt x="3724906" y="95885"/>
                    <a:pt x="3727446" y="96520"/>
                    <a:pt x="3729986" y="96520"/>
                  </a:cubicBezTo>
                  <a:cubicBezTo>
                    <a:pt x="3731891" y="96520"/>
                    <a:pt x="3733161" y="96520"/>
                    <a:pt x="3735066" y="96520"/>
                  </a:cubicBezTo>
                  <a:cubicBezTo>
                    <a:pt x="3736336" y="96520"/>
                    <a:pt x="3738241" y="95885"/>
                    <a:pt x="3739511" y="95250"/>
                  </a:cubicBezTo>
                  <a:cubicBezTo>
                    <a:pt x="3740781" y="95250"/>
                    <a:pt x="3742051" y="93980"/>
                    <a:pt x="3743321" y="93345"/>
                  </a:cubicBezTo>
                  <a:cubicBezTo>
                    <a:pt x="3744591" y="93345"/>
                    <a:pt x="3745861" y="92075"/>
                    <a:pt x="3747766" y="90805"/>
                  </a:cubicBezTo>
                  <a:lnTo>
                    <a:pt x="3756656" y="100330"/>
                  </a:lnTo>
                  <a:cubicBezTo>
                    <a:pt x="3756656" y="100330"/>
                    <a:pt x="3752846" y="103505"/>
                    <a:pt x="3750941" y="104775"/>
                  </a:cubicBezTo>
                  <a:cubicBezTo>
                    <a:pt x="3749036" y="106045"/>
                    <a:pt x="3747131" y="106680"/>
                    <a:pt x="3745226" y="107950"/>
                  </a:cubicBezTo>
                  <a:cubicBezTo>
                    <a:pt x="3743321" y="108585"/>
                    <a:pt x="3740781" y="109855"/>
                    <a:pt x="3738241" y="109855"/>
                  </a:cubicBezTo>
                  <a:cubicBezTo>
                    <a:pt x="3735701" y="109855"/>
                    <a:pt x="3732526" y="110490"/>
                    <a:pt x="3729351" y="110490"/>
                  </a:cubicBezTo>
                  <a:cubicBezTo>
                    <a:pt x="3726176" y="110490"/>
                    <a:pt x="3723001" y="110490"/>
                    <a:pt x="3719826" y="109220"/>
                  </a:cubicBezTo>
                  <a:cubicBezTo>
                    <a:pt x="3716651" y="108585"/>
                    <a:pt x="3714111" y="107315"/>
                    <a:pt x="3712206" y="105410"/>
                  </a:cubicBezTo>
                  <a:cubicBezTo>
                    <a:pt x="3709666" y="104140"/>
                    <a:pt x="3707761" y="102235"/>
                    <a:pt x="3705856" y="100330"/>
                  </a:cubicBezTo>
                  <a:cubicBezTo>
                    <a:pt x="3703951" y="98425"/>
                    <a:pt x="3702046" y="95885"/>
                    <a:pt x="3700776" y="92710"/>
                  </a:cubicBezTo>
                  <a:cubicBezTo>
                    <a:pt x="3698871" y="89535"/>
                    <a:pt x="3697601" y="86360"/>
                    <a:pt x="3696966" y="82550"/>
                  </a:cubicBezTo>
                  <a:cubicBezTo>
                    <a:pt x="3696331" y="78740"/>
                    <a:pt x="3695696" y="74295"/>
                    <a:pt x="3695696" y="69850"/>
                  </a:cubicBezTo>
                  <a:cubicBezTo>
                    <a:pt x="3695696" y="63500"/>
                    <a:pt x="3696331" y="57150"/>
                    <a:pt x="3698236" y="52070"/>
                  </a:cubicBezTo>
                  <a:cubicBezTo>
                    <a:pt x="3700141" y="46990"/>
                    <a:pt x="3702046" y="42545"/>
                    <a:pt x="3705221" y="39370"/>
                  </a:cubicBezTo>
                  <a:cubicBezTo>
                    <a:pt x="3708396" y="36195"/>
                    <a:pt x="3711571" y="33020"/>
                    <a:pt x="3716016" y="31750"/>
                  </a:cubicBezTo>
                  <a:cubicBezTo>
                    <a:pt x="3720461" y="29845"/>
                    <a:pt x="3724906" y="29210"/>
                    <a:pt x="3729986" y="29210"/>
                  </a:cubicBezTo>
                  <a:close/>
                  <a:moveTo>
                    <a:pt x="3543296" y="29210"/>
                  </a:moveTo>
                  <a:cubicBezTo>
                    <a:pt x="3549011" y="29210"/>
                    <a:pt x="3553456" y="30480"/>
                    <a:pt x="3557901" y="32385"/>
                  </a:cubicBezTo>
                  <a:cubicBezTo>
                    <a:pt x="3561711" y="34290"/>
                    <a:pt x="3565521" y="37465"/>
                    <a:pt x="3568061" y="40640"/>
                  </a:cubicBezTo>
                  <a:cubicBezTo>
                    <a:pt x="3570601" y="44450"/>
                    <a:pt x="3572506" y="48260"/>
                    <a:pt x="3574411" y="53340"/>
                  </a:cubicBezTo>
                  <a:cubicBezTo>
                    <a:pt x="3575681" y="57785"/>
                    <a:pt x="3576316" y="62865"/>
                    <a:pt x="3576316" y="68580"/>
                  </a:cubicBezTo>
                  <a:lnTo>
                    <a:pt x="3575046" y="68580"/>
                  </a:lnTo>
                  <a:cubicBezTo>
                    <a:pt x="3575046" y="68580"/>
                    <a:pt x="3575046" y="71120"/>
                    <a:pt x="3575046" y="72390"/>
                  </a:cubicBezTo>
                  <a:cubicBezTo>
                    <a:pt x="3575046" y="73660"/>
                    <a:pt x="3575046" y="74295"/>
                    <a:pt x="3575046" y="75565"/>
                  </a:cubicBezTo>
                  <a:lnTo>
                    <a:pt x="3523611" y="75565"/>
                  </a:lnTo>
                  <a:cubicBezTo>
                    <a:pt x="3523611" y="79375"/>
                    <a:pt x="3524881" y="82550"/>
                    <a:pt x="3526151" y="85090"/>
                  </a:cubicBezTo>
                  <a:cubicBezTo>
                    <a:pt x="3527421" y="87630"/>
                    <a:pt x="3528691" y="90170"/>
                    <a:pt x="3530596" y="91440"/>
                  </a:cubicBezTo>
                  <a:cubicBezTo>
                    <a:pt x="3532501" y="93345"/>
                    <a:pt x="3534406" y="94615"/>
                    <a:pt x="3536311" y="95250"/>
                  </a:cubicBezTo>
                  <a:cubicBezTo>
                    <a:pt x="3538216" y="95885"/>
                    <a:pt x="3540756" y="96520"/>
                    <a:pt x="3543296" y="96520"/>
                  </a:cubicBezTo>
                  <a:cubicBezTo>
                    <a:pt x="3545201" y="96520"/>
                    <a:pt x="3546471" y="96520"/>
                    <a:pt x="3548376" y="96520"/>
                  </a:cubicBezTo>
                  <a:cubicBezTo>
                    <a:pt x="3549646" y="96520"/>
                    <a:pt x="3551551" y="95885"/>
                    <a:pt x="3552821" y="95250"/>
                  </a:cubicBezTo>
                  <a:cubicBezTo>
                    <a:pt x="3554091" y="95250"/>
                    <a:pt x="3555361" y="93980"/>
                    <a:pt x="3556631" y="93345"/>
                  </a:cubicBezTo>
                  <a:cubicBezTo>
                    <a:pt x="3557901" y="93345"/>
                    <a:pt x="3559171" y="92075"/>
                    <a:pt x="3561076" y="90805"/>
                  </a:cubicBezTo>
                  <a:lnTo>
                    <a:pt x="3569966" y="100330"/>
                  </a:lnTo>
                  <a:cubicBezTo>
                    <a:pt x="3569966" y="100330"/>
                    <a:pt x="3566156" y="103505"/>
                    <a:pt x="3564251" y="104775"/>
                  </a:cubicBezTo>
                  <a:cubicBezTo>
                    <a:pt x="3562346" y="106045"/>
                    <a:pt x="3560441" y="106680"/>
                    <a:pt x="3558536" y="107950"/>
                  </a:cubicBezTo>
                  <a:cubicBezTo>
                    <a:pt x="3556631" y="108585"/>
                    <a:pt x="3554091" y="109855"/>
                    <a:pt x="3551551" y="109855"/>
                  </a:cubicBezTo>
                  <a:cubicBezTo>
                    <a:pt x="3549011" y="109855"/>
                    <a:pt x="3545836" y="110490"/>
                    <a:pt x="3542661" y="110490"/>
                  </a:cubicBezTo>
                  <a:cubicBezTo>
                    <a:pt x="3539486" y="110490"/>
                    <a:pt x="3536311" y="110490"/>
                    <a:pt x="3533136" y="109220"/>
                  </a:cubicBezTo>
                  <a:cubicBezTo>
                    <a:pt x="3529961" y="108585"/>
                    <a:pt x="3527421" y="107315"/>
                    <a:pt x="3525516" y="105410"/>
                  </a:cubicBezTo>
                  <a:cubicBezTo>
                    <a:pt x="3522976" y="104140"/>
                    <a:pt x="3521071" y="102235"/>
                    <a:pt x="3519166" y="100330"/>
                  </a:cubicBezTo>
                  <a:cubicBezTo>
                    <a:pt x="3517261" y="98425"/>
                    <a:pt x="3515356" y="95885"/>
                    <a:pt x="3514086" y="92710"/>
                  </a:cubicBezTo>
                  <a:cubicBezTo>
                    <a:pt x="3512181" y="89535"/>
                    <a:pt x="3510911" y="86360"/>
                    <a:pt x="3510276" y="82550"/>
                  </a:cubicBezTo>
                  <a:cubicBezTo>
                    <a:pt x="3509641" y="78740"/>
                    <a:pt x="3509006" y="74295"/>
                    <a:pt x="3509006" y="69850"/>
                  </a:cubicBezTo>
                  <a:cubicBezTo>
                    <a:pt x="3509006" y="63500"/>
                    <a:pt x="3509641" y="57150"/>
                    <a:pt x="3511546" y="52070"/>
                  </a:cubicBezTo>
                  <a:cubicBezTo>
                    <a:pt x="3513451" y="46990"/>
                    <a:pt x="3515356" y="42545"/>
                    <a:pt x="3518531" y="39370"/>
                  </a:cubicBezTo>
                  <a:cubicBezTo>
                    <a:pt x="3521706" y="36195"/>
                    <a:pt x="3524881" y="33020"/>
                    <a:pt x="3529326" y="31750"/>
                  </a:cubicBezTo>
                  <a:cubicBezTo>
                    <a:pt x="3533771" y="29845"/>
                    <a:pt x="3538216" y="29210"/>
                    <a:pt x="3543296" y="29210"/>
                  </a:cubicBezTo>
                  <a:close/>
                  <a:moveTo>
                    <a:pt x="3345176" y="29210"/>
                  </a:moveTo>
                  <a:cubicBezTo>
                    <a:pt x="3350891" y="29210"/>
                    <a:pt x="3355336" y="30480"/>
                    <a:pt x="3359781" y="32385"/>
                  </a:cubicBezTo>
                  <a:cubicBezTo>
                    <a:pt x="3363591" y="34290"/>
                    <a:pt x="3367401" y="37465"/>
                    <a:pt x="3369941" y="40640"/>
                  </a:cubicBezTo>
                  <a:cubicBezTo>
                    <a:pt x="3372481" y="44450"/>
                    <a:pt x="3374386" y="48260"/>
                    <a:pt x="3376291" y="53340"/>
                  </a:cubicBezTo>
                  <a:cubicBezTo>
                    <a:pt x="3377561" y="57785"/>
                    <a:pt x="3378196" y="62865"/>
                    <a:pt x="3378196" y="68580"/>
                  </a:cubicBezTo>
                  <a:lnTo>
                    <a:pt x="3376926" y="68580"/>
                  </a:lnTo>
                  <a:cubicBezTo>
                    <a:pt x="3376926" y="68580"/>
                    <a:pt x="3376926" y="71120"/>
                    <a:pt x="3376926" y="72390"/>
                  </a:cubicBezTo>
                  <a:cubicBezTo>
                    <a:pt x="3376926" y="73660"/>
                    <a:pt x="3376926" y="74295"/>
                    <a:pt x="3376926" y="75565"/>
                  </a:cubicBezTo>
                  <a:lnTo>
                    <a:pt x="3325491" y="75565"/>
                  </a:lnTo>
                  <a:cubicBezTo>
                    <a:pt x="3325491" y="79375"/>
                    <a:pt x="3326761" y="82550"/>
                    <a:pt x="3328031" y="85090"/>
                  </a:cubicBezTo>
                  <a:cubicBezTo>
                    <a:pt x="3329301" y="87630"/>
                    <a:pt x="3330571" y="90170"/>
                    <a:pt x="3332476" y="91440"/>
                  </a:cubicBezTo>
                  <a:cubicBezTo>
                    <a:pt x="3334381" y="93345"/>
                    <a:pt x="3336286" y="94615"/>
                    <a:pt x="3338191" y="95250"/>
                  </a:cubicBezTo>
                  <a:cubicBezTo>
                    <a:pt x="3340096" y="95885"/>
                    <a:pt x="3342636" y="96520"/>
                    <a:pt x="3345176" y="96520"/>
                  </a:cubicBezTo>
                  <a:cubicBezTo>
                    <a:pt x="3347081" y="96520"/>
                    <a:pt x="3348351" y="96520"/>
                    <a:pt x="3350256" y="96520"/>
                  </a:cubicBezTo>
                  <a:cubicBezTo>
                    <a:pt x="3351526" y="96520"/>
                    <a:pt x="3353431" y="95885"/>
                    <a:pt x="3354701" y="95250"/>
                  </a:cubicBezTo>
                  <a:cubicBezTo>
                    <a:pt x="3355971" y="95250"/>
                    <a:pt x="3357241" y="93980"/>
                    <a:pt x="3358511" y="93345"/>
                  </a:cubicBezTo>
                  <a:cubicBezTo>
                    <a:pt x="3359781" y="93345"/>
                    <a:pt x="3361051" y="92075"/>
                    <a:pt x="3362956" y="90805"/>
                  </a:cubicBezTo>
                  <a:lnTo>
                    <a:pt x="3371846" y="100330"/>
                  </a:lnTo>
                  <a:cubicBezTo>
                    <a:pt x="3371846" y="100330"/>
                    <a:pt x="3368036" y="103505"/>
                    <a:pt x="3366131" y="104775"/>
                  </a:cubicBezTo>
                  <a:cubicBezTo>
                    <a:pt x="3364226" y="106045"/>
                    <a:pt x="3362321" y="106680"/>
                    <a:pt x="3360416" y="107950"/>
                  </a:cubicBezTo>
                  <a:cubicBezTo>
                    <a:pt x="3358511" y="108585"/>
                    <a:pt x="3355971" y="109855"/>
                    <a:pt x="3353431" y="109855"/>
                  </a:cubicBezTo>
                  <a:cubicBezTo>
                    <a:pt x="3350891" y="109855"/>
                    <a:pt x="3347716" y="110490"/>
                    <a:pt x="3344541" y="110490"/>
                  </a:cubicBezTo>
                  <a:cubicBezTo>
                    <a:pt x="3341366" y="110490"/>
                    <a:pt x="3338191" y="110490"/>
                    <a:pt x="3335016" y="109220"/>
                  </a:cubicBezTo>
                  <a:cubicBezTo>
                    <a:pt x="3331841" y="108585"/>
                    <a:pt x="3329301" y="107315"/>
                    <a:pt x="3327396" y="105410"/>
                  </a:cubicBezTo>
                  <a:cubicBezTo>
                    <a:pt x="3324856" y="104140"/>
                    <a:pt x="3322951" y="102235"/>
                    <a:pt x="3321046" y="100330"/>
                  </a:cubicBezTo>
                  <a:cubicBezTo>
                    <a:pt x="3319141" y="98425"/>
                    <a:pt x="3317236" y="95885"/>
                    <a:pt x="3315966" y="92710"/>
                  </a:cubicBezTo>
                  <a:cubicBezTo>
                    <a:pt x="3314061" y="89535"/>
                    <a:pt x="3312791" y="86360"/>
                    <a:pt x="3312156" y="82550"/>
                  </a:cubicBezTo>
                  <a:cubicBezTo>
                    <a:pt x="3311521" y="78740"/>
                    <a:pt x="3310886" y="74295"/>
                    <a:pt x="3310886" y="69850"/>
                  </a:cubicBezTo>
                  <a:cubicBezTo>
                    <a:pt x="3310886" y="63500"/>
                    <a:pt x="3311521" y="57150"/>
                    <a:pt x="3313426" y="52070"/>
                  </a:cubicBezTo>
                  <a:cubicBezTo>
                    <a:pt x="3315331" y="46990"/>
                    <a:pt x="3317236" y="42545"/>
                    <a:pt x="3320411" y="39370"/>
                  </a:cubicBezTo>
                  <a:cubicBezTo>
                    <a:pt x="3323586" y="36195"/>
                    <a:pt x="3326761" y="33020"/>
                    <a:pt x="3331206" y="31750"/>
                  </a:cubicBezTo>
                  <a:cubicBezTo>
                    <a:pt x="3335651" y="29845"/>
                    <a:pt x="3340096" y="29210"/>
                    <a:pt x="3345176" y="29210"/>
                  </a:cubicBezTo>
                  <a:close/>
                  <a:moveTo>
                    <a:pt x="3060696" y="29210"/>
                  </a:moveTo>
                  <a:cubicBezTo>
                    <a:pt x="3063871" y="29210"/>
                    <a:pt x="3066411" y="29210"/>
                    <a:pt x="3068316" y="29845"/>
                  </a:cubicBezTo>
                  <a:cubicBezTo>
                    <a:pt x="3070221" y="29845"/>
                    <a:pt x="3072126" y="31115"/>
                    <a:pt x="3074031" y="32385"/>
                  </a:cubicBezTo>
                  <a:lnTo>
                    <a:pt x="3070221" y="46990"/>
                  </a:lnTo>
                  <a:lnTo>
                    <a:pt x="3068951" y="46990"/>
                  </a:lnTo>
                  <a:cubicBezTo>
                    <a:pt x="3068951" y="46990"/>
                    <a:pt x="3065776" y="45085"/>
                    <a:pt x="3063871" y="45085"/>
                  </a:cubicBezTo>
                  <a:cubicBezTo>
                    <a:pt x="3061966" y="45085"/>
                    <a:pt x="3060061" y="44450"/>
                    <a:pt x="3057521" y="44450"/>
                  </a:cubicBezTo>
                  <a:cubicBezTo>
                    <a:pt x="3052441" y="44450"/>
                    <a:pt x="3048631" y="46355"/>
                    <a:pt x="3046091" y="49530"/>
                  </a:cubicBezTo>
                  <a:cubicBezTo>
                    <a:pt x="3043551" y="52705"/>
                    <a:pt x="3042281" y="57785"/>
                    <a:pt x="3042281" y="64770"/>
                  </a:cubicBezTo>
                  <a:lnTo>
                    <a:pt x="3042281" y="109220"/>
                  </a:lnTo>
                  <a:lnTo>
                    <a:pt x="3027041" y="109220"/>
                  </a:lnTo>
                  <a:lnTo>
                    <a:pt x="3027041" y="31115"/>
                  </a:lnTo>
                  <a:lnTo>
                    <a:pt x="3042281" y="31115"/>
                  </a:lnTo>
                  <a:lnTo>
                    <a:pt x="3042281" y="38735"/>
                  </a:lnTo>
                  <a:cubicBezTo>
                    <a:pt x="3042281" y="38735"/>
                    <a:pt x="3044186" y="36195"/>
                    <a:pt x="3045456" y="34925"/>
                  </a:cubicBezTo>
                  <a:cubicBezTo>
                    <a:pt x="3046726" y="33655"/>
                    <a:pt x="3047996" y="33020"/>
                    <a:pt x="3049901" y="31750"/>
                  </a:cubicBezTo>
                  <a:cubicBezTo>
                    <a:pt x="3051171" y="31115"/>
                    <a:pt x="3053076" y="30480"/>
                    <a:pt x="3054981" y="29845"/>
                  </a:cubicBezTo>
                  <a:cubicBezTo>
                    <a:pt x="3056886" y="29845"/>
                    <a:pt x="3058791" y="29210"/>
                    <a:pt x="3060696" y="29210"/>
                  </a:cubicBezTo>
                  <a:close/>
                  <a:moveTo>
                    <a:pt x="2978781" y="29210"/>
                  </a:moveTo>
                  <a:cubicBezTo>
                    <a:pt x="2984496" y="29210"/>
                    <a:pt x="2988941" y="30480"/>
                    <a:pt x="2993386" y="32385"/>
                  </a:cubicBezTo>
                  <a:cubicBezTo>
                    <a:pt x="2997196" y="34290"/>
                    <a:pt x="3001006" y="37465"/>
                    <a:pt x="3003546" y="40640"/>
                  </a:cubicBezTo>
                  <a:cubicBezTo>
                    <a:pt x="3006086" y="44450"/>
                    <a:pt x="3007991" y="48260"/>
                    <a:pt x="3009896" y="53340"/>
                  </a:cubicBezTo>
                  <a:cubicBezTo>
                    <a:pt x="3011166" y="57785"/>
                    <a:pt x="3011801" y="62865"/>
                    <a:pt x="3011801" y="68580"/>
                  </a:cubicBezTo>
                  <a:lnTo>
                    <a:pt x="3010531" y="68580"/>
                  </a:lnTo>
                  <a:cubicBezTo>
                    <a:pt x="3010531" y="68580"/>
                    <a:pt x="3010531" y="71120"/>
                    <a:pt x="3010531" y="72390"/>
                  </a:cubicBezTo>
                  <a:cubicBezTo>
                    <a:pt x="3010531" y="73660"/>
                    <a:pt x="3010531" y="74295"/>
                    <a:pt x="3010531" y="75565"/>
                  </a:cubicBezTo>
                  <a:lnTo>
                    <a:pt x="2959096" y="75565"/>
                  </a:lnTo>
                  <a:cubicBezTo>
                    <a:pt x="2959096" y="79375"/>
                    <a:pt x="2960366" y="82550"/>
                    <a:pt x="2961636" y="85090"/>
                  </a:cubicBezTo>
                  <a:cubicBezTo>
                    <a:pt x="2962906" y="87630"/>
                    <a:pt x="2964176" y="90170"/>
                    <a:pt x="2966081" y="91440"/>
                  </a:cubicBezTo>
                  <a:cubicBezTo>
                    <a:pt x="2967986" y="93345"/>
                    <a:pt x="2969891" y="94615"/>
                    <a:pt x="2971796" y="95250"/>
                  </a:cubicBezTo>
                  <a:cubicBezTo>
                    <a:pt x="2974336" y="95885"/>
                    <a:pt x="2976241" y="96520"/>
                    <a:pt x="2978781" y="96520"/>
                  </a:cubicBezTo>
                  <a:cubicBezTo>
                    <a:pt x="2980686" y="96520"/>
                    <a:pt x="2981956" y="96520"/>
                    <a:pt x="2983861" y="96520"/>
                  </a:cubicBezTo>
                  <a:cubicBezTo>
                    <a:pt x="2985131" y="96520"/>
                    <a:pt x="2987036" y="95885"/>
                    <a:pt x="2988306" y="95250"/>
                  </a:cubicBezTo>
                  <a:cubicBezTo>
                    <a:pt x="2989576" y="95250"/>
                    <a:pt x="2990846" y="93980"/>
                    <a:pt x="2992116" y="93345"/>
                  </a:cubicBezTo>
                  <a:cubicBezTo>
                    <a:pt x="2993386" y="93345"/>
                    <a:pt x="2994656" y="92075"/>
                    <a:pt x="2996561" y="90805"/>
                  </a:cubicBezTo>
                  <a:lnTo>
                    <a:pt x="3005451" y="100330"/>
                  </a:lnTo>
                  <a:cubicBezTo>
                    <a:pt x="3005451" y="100330"/>
                    <a:pt x="3001641" y="103505"/>
                    <a:pt x="2999736" y="104775"/>
                  </a:cubicBezTo>
                  <a:cubicBezTo>
                    <a:pt x="2997831" y="106045"/>
                    <a:pt x="2995926" y="106680"/>
                    <a:pt x="2994021" y="107950"/>
                  </a:cubicBezTo>
                  <a:cubicBezTo>
                    <a:pt x="2992116" y="108585"/>
                    <a:pt x="2989576" y="109855"/>
                    <a:pt x="2987036" y="109855"/>
                  </a:cubicBezTo>
                  <a:cubicBezTo>
                    <a:pt x="2984496" y="109855"/>
                    <a:pt x="2981321" y="110490"/>
                    <a:pt x="2978146" y="110490"/>
                  </a:cubicBezTo>
                  <a:cubicBezTo>
                    <a:pt x="2974971" y="110490"/>
                    <a:pt x="2971796" y="110490"/>
                    <a:pt x="2968621" y="109220"/>
                  </a:cubicBezTo>
                  <a:cubicBezTo>
                    <a:pt x="2965446" y="108585"/>
                    <a:pt x="2962906" y="107315"/>
                    <a:pt x="2961001" y="105410"/>
                  </a:cubicBezTo>
                  <a:cubicBezTo>
                    <a:pt x="2958461" y="104140"/>
                    <a:pt x="2956556" y="102235"/>
                    <a:pt x="2954651" y="100330"/>
                  </a:cubicBezTo>
                  <a:cubicBezTo>
                    <a:pt x="2952746" y="98425"/>
                    <a:pt x="2950841" y="95885"/>
                    <a:pt x="2949571" y="92710"/>
                  </a:cubicBezTo>
                  <a:cubicBezTo>
                    <a:pt x="2947666" y="89535"/>
                    <a:pt x="2946396" y="86360"/>
                    <a:pt x="2945761" y="82550"/>
                  </a:cubicBezTo>
                  <a:cubicBezTo>
                    <a:pt x="2945126" y="78740"/>
                    <a:pt x="2944491" y="74295"/>
                    <a:pt x="2944491" y="69850"/>
                  </a:cubicBezTo>
                  <a:cubicBezTo>
                    <a:pt x="2944491" y="63500"/>
                    <a:pt x="2945126" y="57150"/>
                    <a:pt x="2947031" y="52070"/>
                  </a:cubicBezTo>
                  <a:cubicBezTo>
                    <a:pt x="2948936" y="46990"/>
                    <a:pt x="2950841" y="42545"/>
                    <a:pt x="2954016" y="39370"/>
                  </a:cubicBezTo>
                  <a:cubicBezTo>
                    <a:pt x="2957191" y="36195"/>
                    <a:pt x="2960366" y="33020"/>
                    <a:pt x="2964811" y="31750"/>
                  </a:cubicBezTo>
                  <a:cubicBezTo>
                    <a:pt x="2969256" y="29845"/>
                    <a:pt x="2973701" y="29210"/>
                    <a:pt x="2978781" y="29210"/>
                  </a:cubicBezTo>
                  <a:close/>
                  <a:moveTo>
                    <a:pt x="2798440" y="29210"/>
                  </a:moveTo>
                  <a:cubicBezTo>
                    <a:pt x="2803520" y="29210"/>
                    <a:pt x="2807965" y="29845"/>
                    <a:pt x="2813045" y="31750"/>
                  </a:cubicBezTo>
                  <a:cubicBezTo>
                    <a:pt x="2817490" y="33655"/>
                    <a:pt x="2821935" y="35560"/>
                    <a:pt x="2825110" y="38100"/>
                  </a:cubicBezTo>
                  <a:lnTo>
                    <a:pt x="2827015" y="38100"/>
                  </a:lnTo>
                  <a:lnTo>
                    <a:pt x="2820030" y="50165"/>
                  </a:lnTo>
                  <a:cubicBezTo>
                    <a:pt x="2816855" y="47625"/>
                    <a:pt x="2813680" y="46355"/>
                    <a:pt x="2810505" y="45085"/>
                  </a:cubicBezTo>
                  <a:cubicBezTo>
                    <a:pt x="2807330" y="43815"/>
                    <a:pt x="2803520" y="43180"/>
                    <a:pt x="2799710" y="43180"/>
                  </a:cubicBezTo>
                  <a:cubicBezTo>
                    <a:pt x="2795900" y="43180"/>
                    <a:pt x="2793360" y="43815"/>
                    <a:pt x="2791455" y="45085"/>
                  </a:cubicBezTo>
                  <a:cubicBezTo>
                    <a:pt x="2789550" y="46355"/>
                    <a:pt x="2788915" y="48260"/>
                    <a:pt x="2788915" y="50165"/>
                  </a:cubicBezTo>
                  <a:cubicBezTo>
                    <a:pt x="2788915" y="51435"/>
                    <a:pt x="2788915" y="52070"/>
                    <a:pt x="2788915" y="52705"/>
                  </a:cubicBezTo>
                  <a:cubicBezTo>
                    <a:pt x="2788915" y="53340"/>
                    <a:pt x="2790185" y="54610"/>
                    <a:pt x="2790820" y="55245"/>
                  </a:cubicBezTo>
                  <a:cubicBezTo>
                    <a:pt x="2792090" y="55880"/>
                    <a:pt x="2793360" y="57150"/>
                    <a:pt x="2795265" y="57785"/>
                  </a:cubicBezTo>
                  <a:cubicBezTo>
                    <a:pt x="2797170" y="59055"/>
                    <a:pt x="2799710" y="59690"/>
                    <a:pt x="2802250" y="60960"/>
                  </a:cubicBezTo>
                  <a:cubicBezTo>
                    <a:pt x="2806695" y="62865"/>
                    <a:pt x="2810505" y="64135"/>
                    <a:pt x="2813680" y="66040"/>
                  </a:cubicBezTo>
                  <a:cubicBezTo>
                    <a:pt x="2816855" y="67310"/>
                    <a:pt x="2819395" y="69215"/>
                    <a:pt x="2821935" y="71120"/>
                  </a:cubicBezTo>
                  <a:cubicBezTo>
                    <a:pt x="2823840" y="73025"/>
                    <a:pt x="2825745" y="75565"/>
                    <a:pt x="2827015" y="78105"/>
                  </a:cubicBezTo>
                  <a:cubicBezTo>
                    <a:pt x="2828285" y="80645"/>
                    <a:pt x="2828920" y="83820"/>
                    <a:pt x="2828920" y="87630"/>
                  </a:cubicBezTo>
                  <a:cubicBezTo>
                    <a:pt x="2828920" y="92075"/>
                    <a:pt x="2828285" y="95250"/>
                    <a:pt x="2826380" y="98425"/>
                  </a:cubicBezTo>
                  <a:cubicBezTo>
                    <a:pt x="2824475" y="101600"/>
                    <a:pt x="2822570" y="103505"/>
                    <a:pt x="2820030" y="105410"/>
                  </a:cubicBezTo>
                  <a:cubicBezTo>
                    <a:pt x="2817490" y="107315"/>
                    <a:pt x="2814315" y="108585"/>
                    <a:pt x="2810505" y="109220"/>
                  </a:cubicBezTo>
                  <a:cubicBezTo>
                    <a:pt x="2806695" y="109855"/>
                    <a:pt x="2803520" y="110490"/>
                    <a:pt x="2799710" y="110490"/>
                  </a:cubicBezTo>
                  <a:cubicBezTo>
                    <a:pt x="2794630" y="110490"/>
                    <a:pt x="2789550" y="109855"/>
                    <a:pt x="2783835" y="107950"/>
                  </a:cubicBezTo>
                  <a:cubicBezTo>
                    <a:pt x="2778120" y="106045"/>
                    <a:pt x="2773675" y="103505"/>
                    <a:pt x="2769230" y="100965"/>
                  </a:cubicBezTo>
                  <a:lnTo>
                    <a:pt x="2776215" y="89535"/>
                  </a:lnTo>
                  <a:cubicBezTo>
                    <a:pt x="2780025" y="92075"/>
                    <a:pt x="2783835" y="93980"/>
                    <a:pt x="2787645" y="95250"/>
                  </a:cubicBezTo>
                  <a:cubicBezTo>
                    <a:pt x="2791455" y="96520"/>
                    <a:pt x="2795265" y="97155"/>
                    <a:pt x="2799075" y="97155"/>
                  </a:cubicBezTo>
                  <a:cubicBezTo>
                    <a:pt x="2804155" y="97155"/>
                    <a:pt x="2807330" y="96520"/>
                    <a:pt x="2809870" y="94615"/>
                  </a:cubicBezTo>
                  <a:cubicBezTo>
                    <a:pt x="2812410" y="93345"/>
                    <a:pt x="2813045" y="90805"/>
                    <a:pt x="2813045" y="88265"/>
                  </a:cubicBezTo>
                  <a:cubicBezTo>
                    <a:pt x="2813045" y="86995"/>
                    <a:pt x="2813045" y="85725"/>
                    <a:pt x="2811775" y="84455"/>
                  </a:cubicBezTo>
                  <a:cubicBezTo>
                    <a:pt x="2811140" y="83185"/>
                    <a:pt x="2809870" y="82550"/>
                    <a:pt x="2807965" y="81280"/>
                  </a:cubicBezTo>
                  <a:cubicBezTo>
                    <a:pt x="2806695" y="80010"/>
                    <a:pt x="2804790" y="79375"/>
                    <a:pt x="2802250" y="78105"/>
                  </a:cubicBezTo>
                  <a:cubicBezTo>
                    <a:pt x="2800345" y="77470"/>
                    <a:pt x="2797805" y="76200"/>
                    <a:pt x="2794630" y="74930"/>
                  </a:cubicBezTo>
                  <a:cubicBezTo>
                    <a:pt x="2790185" y="73025"/>
                    <a:pt x="2787010" y="71755"/>
                    <a:pt x="2783835" y="69850"/>
                  </a:cubicBezTo>
                  <a:cubicBezTo>
                    <a:pt x="2780660" y="67945"/>
                    <a:pt x="2778755" y="66675"/>
                    <a:pt x="2776850" y="64770"/>
                  </a:cubicBezTo>
                  <a:cubicBezTo>
                    <a:pt x="2774945" y="62865"/>
                    <a:pt x="2773675" y="60960"/>
                    <a:pt x="2773040" y="58420"/>
                  </a:cubicBezTo>
                  <a:cubicBezTo>
                    <a:pt x="2772405" y="55880"/>
                    <a:pt x="2771770" y="53340"/>
                    <a:pt x="2771770" y="50165"/>
                  </a:cubicBezTo>
                  <a:cubicBezTo>
                    <a:pt x="2771770" y="46990"/>
                    <a:pt x="2772405" y="43815"/>
                    <a:pt x="2773675" y="40640"/>
                  </a:cubicBezTo>
                  <a:cubicBezTo>
                    <a:pt x="2774945" y="38100"/>
                    <a:pt x="2776850" y="35560"/>
                    <a:pt x="2779390" y="34290"/>
                  </a:cubicBezTo>
                  <a:cubicBezTo>
                    <a:pt x="2781930" y="32385"/>
                    <a:pt x="2784470" y="31115"/>
                    <a:pt x="2787645" y="30480"/>
                  </a:cubicBezTo>
                  <a:cubicBezTo>
                    <a:pt x="2790820" y="29845"/>
                    <a:pt x="2794630" y="29210"/>
                    <a:pt x="2798440" y="29210"/>
                  </a:cubicBezTo>
                  <a:close/>
                  <a:moveTo>
                    <a:pt x="2723510" y="29210"/>
                  </a:moveTo>
                  <a:cubicBezTo>
                    <a:pt x="2725415" y="29210"/>
                    <a:pt x="2727320" y="29210"/>
                    <a:pt x="2729225" y="29210"/>
                  </a:cubicBezTo>
                  <a:cubicBezTo>
                    <a:pt x="2733670" y="29210"/>
                    <a:pt x="2738115" y="29845"/>
                    <a:pt x="2741290" y="31750"/>
                  </a:cubicBezTo>
                  <a:cubicBezTo>
                    <a:pt x="2744465" y="33020"/>
                    <a:pt x="2747640" y="35560"/>
                    <a:pt x="2750180" y="38100"/>
                  </a:cubicBezTo>
                  <a:cubicBezTo>
                    <a:pt x="2752720" y="41275"/>
                    <a:pt x="2753990" y="44450"/>
                    <a:pt x="2755260" y="48895"/>
                  </a:cubicBezTo>
                  <a:cubicBezTo>
                    <a:pt x="2756530" y="53340"/>
                    <a:pt x="2757165" y="58420"/>
                    <a:pt x="2757165" y="64135"/>
                  </a:cubicBezTo>
                  <a:lnTo>
                    <a:pt x="2757165" y="108585"/>
                  </a:lnTo>
                  <a:lnTo>
                    <a:pt x="2741925" y="108585"/>
                  </a:lnTo>
                  <a:lnTo>
                    <a:pt x="2741290" y="108585"/>
                  </a:lnTo>
                  <a:lnTo>
                    <a:pt x="2741290" y="64770"/>
                  </a:lnTo>
                  <a:cubicBezTo>
                    <a:pt x="2741290" y="57785"/>
                    <a:pt x="2740020" y="52070"/>
                    <a:pt x="2737480" y="48895"/>
                  </a:cubicBezTo>
                  <a:cubicBezTo>
                    <a:pt x="2734940" y="45085"/>
                    <a:pt x="2731130" y="43180"/>
                    <a:pt x="2725415" y="43180"/>
                  </a:cubicBezTo>
                  <a:cubicBezTo>
                    <a:pt x="2722875" y="43180"/>
                    <a:pt x="2720970" y="43180"/>
                    <a:pt x="2718430" y="44450"/>
                  </a:cubicBezTo>
                  <a:cubicBezTo>
                    <a:pt x="2716525" y="45085"/>
                    <a:pt x="2714620" y="46990"/>
                    <a:pt x="2713350" y="48260"/>
                  </a:cubicBezTo>
                  <a:cubicBezTo>
                    <a:pt x="2712080" y="50165"/>
                    <a:pt x="2710810" y="52070"/>
                    <a:pt x="2710175" y="54610"/>
                  </a:cubicBezTo>
                  <a:cubicBezTo>
                    <a:pt x="2710175" y="57150"/>
                    <a:pt x="2709540" y="59690"/>
                    <a:pt x="2709540" y="62865"/>
                  </a:cubicBezTo>
                  <a:lnTo>
                    <a:pt x="2709540" y="108585"/>
                  </a:lnTo>
                  <a:lnTo>
                    <a:pt x="2694300" y="108585"/>
                  </a:lnTo>
                  <a:lnTo>
                    <a:pt x="2694300" y="30480"/>
                  </a:lnTo>
                  <a:lnTo>
                    <a:pt x="2709540" y="30480"/>
                  </a:lnTo>
                  <a:lnTo>
                    <a:pt x="2709540" y="38100"/>
                  </a:lnTo>
                  <a:cubicBezTo>
                    <a:pt x="2709540" y="38100"/>
                    <a:pt x="2711445" y="35560"/>
                    <a:pt x="2713350" y="34290"/>
                  </a:cubicBezTo>
                  <a:cubicBezTo>
                    <a:pt x="2714620" y="33020"/>
                    <a:pt x="2716525" y="32385"/>
                    <a:pt x="2717795" y="31115"/>
                  </a:cubicBezTo>
                  <a:cubicBezTo>
                    <a:pt x="2719700" y="30480"/>
                    <a:pt x="2721605" y="29845"/>
                    <a:pt x="2723510" y="29210"/>
                  </a:cubicBezTo>
                  <a:close/>
                  <a:moveTo>
                    <a:pt x="2530470" y="29210"/>
                  </a:moveTo>
                  <a:cubicBezTo>
                    <a:pt x="2536185" y="29210"/>
                    <a:pt x="2540630" y="30480"/>
                    <a:pt x="2545075" y="32385"/>
                  </a:cubicBezTo>
                  <a:cubicBezTo>
                    <a:pt x="2548885" y="34290"/>
                    <a:pt x="2552695" y="37465"/>
                    <a:pt x="2555235" y="40640"/>
                  </a:cubicBezTo>
                  <a:cubicBezTo>
                    <a:pt x="2557775" y="44450"/>
                    <a:pt x="2559680" y="48260"/>
                    <a:pt x="2561585" y="53340"/>
                  </a:cubicBezTo>
                  <a:cubicBezTo>
                    <a:pt x="2562855" y="57785"/>
                    <a:pt x="2563490" y="62865"/>
                    <a:pt x="2563490" y="68580"/>
                  </a:cubicBezTo>
                  <a:lnTo>
                    <a:pt x="2562220" y="68580"/>
                  </a:lnTo>
                  <a:cubicBezTo>
                    <a:pt x="2562220" y="68580"/>
                    <a:pt x="2562220" y="71120"/>
                    <a:pt x="2562220" y="72390"/>
                  </a:cubicBezTo>
                  <a:cubicBezTo>
                    <a:pt x="2562220" y="73660"/>
                    <a:pt x="2562220" y="74295"/>
                    <a:pt x="2562220" y="75565"/>
                  </a:cubicBezTo>
                  <a:lnTo>
                    <a:pt x="2510785" y="75565"/>
                  </a:lnTo>
                  <a:cubicBezTo>
                    <a:pt x="2510785" y="79375"/>
                    <a:pt x="2512055" y="82550"/>
                    <a:pt x="2513325" y="85090"/>
                  </a:cubicBezTo>
                  <a:cubicBezTo>
                    <a:pt x="2514595" y="87630"/>
                    <a:pt x="2515865" y="90170"/>
                    <a:pt x="2517770" y="91440"/>
                  </a:cubicBezTo>
                  <a:cubicBezTo>
                    <a:pt x="2519675" y="93345"/>
                    <a:pt x="2521580" y="94615"/>
                    <a:pt x="2523485" y="95250"/>
                  </a:cubicBezTo>
                  <a:cubicBezTo>
                    <a:pt x="2525390" y="95885"/>
                    <a:pt x="2527930" y="96520"/>
                    <a:pt x="2530470" y="96520"/>
                  </a:cubicBezTo>
                  <a:cubicBezTo>
                    <a:pt x="2532375" y="96520"/>
                    <a:pt x="2533645" y="96520"/>
                    <a:pt x="2535550" y="96520"/>
                  </a:cubicBezTo>
                  <a:cubicBezTo>
                    <a:pt x="2536820" y="96520"/>
                    <a:pt x="2538725" y="95885"/>
                    <a:pt x="2539995" y="95250"/>
                  </a:cubicBezTo>
                  <a:cubicBezTo>
                    <a:pt x="2541265" y="95250"/>
                    <a:pt x="2542535" y="93980"/>
                    <a:pt x="2543805" y="93345"/>
                  </a:cubicBezTo>
                  <a:cubicBezTo>
                    <a:pt x="2545075" y="93345"/>
                    <a:pt x="2546345" y="92075"/>
                    <a:pt x="2548250" y="90805"/>
                  </a:cubicBezTo>
                  <a:lnTo>
                    <a:pt x="2557140" y="100330"/>
                  </a:lnTo>
                  <a:cubicBezTo>
                    <a:pt x="2557140" y="100330"/>
                    <a:pt x="2553330" y="103505"/>
                    <a:pt x="2551425" y="104775"/>
                  </a:cubicBezTo>
                  <a:cubicBezTo>
                    <a:pt x="2549520" y="106045"/>
                    <a:pt x="2547615" y="106680"/>
                    <a:pt x="2545710" y="107950"/>
                  </a:cubicBezTo>
                  <a:cubicBezTo>
                    <a:pt x="2543805" y="108585"/>
                    <a:pt x="2541265" y="109855"/>
                    <a:pt x="2538725" y="109855"/>
                  </a:cubicBezTo>
                  <a:cubicBezTo>
                    <a:pt x="2536185" y="109855"/>
                    <a:pt x="2533010" y="110490"/>
                    <a:pt x="2529835" y="110490"/>
                  </a:cubicBezTo>
                  <a:cubicBezTo>
                    <a:pt x="2526660" y="110490"/>
                    <a:pt x="2523485" y="110490"/>
                    <a:pt x="2520310" y="109220"/>
                  </a:cubicBezTo>
                  <a:cubicBezTo>
                    <a:pt x="2517135" y="108585"/>
                    <a:pt x="2514595" y="107315"/>
                    <a:pt x="2512690" y="105410"/>
                  </a:cubicBezTo>
                  <a:cubicBezTo>
                    <a:pt x="2510785" y="103505"/>
                    <a:pt x="2508245" y="102235"/>
                    <a:pt x="2506340" y="100330"/>
                  </a:cubicBezTo>
                  <a:cubicBezTo>
                    <a:pt x="2504435" y="98425"/>
                    <a:pt x="2502530" y="95885"/>
                    <a:pt x="2501260" y="92710"/>
                  </a:cubicBezTo>
                  <a:cubicBezTo>
                    <a:pt x="2499355" y="89535"/>
                    <a:pt x="2498085" y="86360"/>
                    <a:pt x="2497450" y="82550"/>
                  </a:cubicBezTo>
                  <a:cubicBezTo>
                    <a:pt x="2496815" y="78740"/>
                    <a:pt x="2496180" y="74295"/>
                    <a:pt x="2496180" y="69850"/>
                  </a:cubicBezTo>
                  <a:cubicBezTo>
                    <a:pt x="2496180" y="63500"/>
                    <a:pt x="2496815" y="57150"/>
                    <a:pt x="2498720" y="52070"/>
                  </a:cubicBezTo>
                  <a:cubicBezTo>
                    <a:pt x="2500625" y="46990"/>
                    <a:pt x="2502530" y="42545"/>
                    <a:pt x="2505705" y="39370"/>
                  </a:cubicBezTo>
                  <a:cubicBezTo>
                    <a:pt x="2508880" y="36195"/>
                    <a:pt x="2512055" y="33020"/>
                    <a:pt x="2516500" y="31750"/>
                  </a:cubicBezTo>
                  <a:cubicBezTo>
                    <a:pt x="2520945" y="29845"/>
                    <a:pt x="2525390" y="29210"/>
                    <a:pt x="2530470" y="29210"/>
                  </a:cubicBezTo>
                  <a:close/>
                  <a:moveTo>
                    <a:pt x="2298061" y="29210"/>
                  </a:moveTo>
                  <a:cubicBezTo>
                    <a:pt x="2301236" y="29210"/>
                    <a:pt x="2303776" y="29210"/>
                    <a:pt x="2305681" y="29845"/>
                  </a:cubicBezTo>
                  <a:cubicBezTo>
                    <a:pt x="2307586" y="29845"/>
                    <a:pt x="2309491" y="31115"/>
                    <a:pt x="2311396" y="32385"/>
                  </a:cubicBezTo>
                  <a:lnTo>
                    <a:pt x="2307586" y="46990"/>
                  </a:lnTo>
                  <a:lnTo>
                    <a:pt x="2306316" y="46990"/>
                  </a:lnTo>
                  <a:cubicBezTo>
                    <a:pt x="2306316" y="46990"/>
                    <a:pt x="2303141" y="45085"/>
                    <a:pt x="2301236" y="45085"/>
                  </a:cubicBezTo>
                  <a:cubicBezTo>
                    <a:pt x="2299331" y="45085"/>
                    <a:pt x="2297426" y="44450"/>
                    <a:pt x="2294886" y="44450"/>
                  </a:cubicBezTo>
                  <a:cubicBezTo>
                    <a:pt x="2289806" y="44450"/>
                    <a:pt x="2285996" y="46355"/>
                    <a:pt x="2283456" y="49530"/>
                  </a:cubicBezTo>
                  <a:cubicBezTo>
                    <a:pt x="2280916" y="52705"/>
                    <a:pt x="2279646" y="57785"/>
                    <a:pt x="2279646" y="64770"/>
                  </a:cubicBezTo>
                  <a:lnTo>
                    <a:pt x="2279646" y="109220"/>
                  </a:lnTo>
                  <a:lnTo>
                    <a:pt x="2264406" y="109220"/>
                  </a:lnTo>
                  <a:lnTo>
                    <a:pt x="2264406" y="31115"/>
                  </a:lnTo>
                  <a:lnTo>
                    <a:pt x="2279646" y="31115"/>
                  </a:lnTo>
                  <a:lnTo>
                    <a:pt x="2279646" y="38735"/>
                  </a:lnTo>
                  <a:cubicBezTo>
                    <a:pt x="2279646" y="38735"/>
                    <a:pt x="2281551" y="36195"/>
                    <a:pt x="2282821" y="34925"/>
                  </a:cubicBezTo>
                  <a:cubicBezTo>
                    <a:pt x="2284091" y="33655"/>
                    <a:pt x="2285361" y="33020"/>
                    <a:pt x="2287266" y="31750"/>
                  </a:cubicBezTo>
                  <a:cubicBezTo>
                    <a:pt x="2288536" y="31115"/>
                    <a:pt x="2290441" y="30480"/>
                    <a:pt x="2292346" y="29845"/>
                  </a:cubicBezTo>
                  <a:cubicBezTo>
                    <a:pt x="2294251" y="29845"/>
                    <a:pt x="2296156" y="29210"/>
                    <a:pt x="2298061" y="29210"/>
                  </a:cubicBezTo>
                  <a:close/>
                  <a:moveTo>
                    <a:pt x="2216145" y="29210"/>
                  </a:moveTo>
                  <a:cubicBezTo>
                    <a:pt x="2221860" y="29210"/>
                    <a:pt x="2226305" y="30480"/>
                    <a:pt x="2230750" y="32385"/>
                  </a:cubicBezTo>
                  <a:cubicBezTo>
                    <a:pt x="2234560" y="34290"/>
                    <a:pt x="2238370" y="37465"/>
                    <a:pt x="2240910" y="40640"/>
                  </a:cubicBezTo>
                  <a:cubicBezTo>
                    <a:pt x="2243450" y="44450"/>
                    <a:pt x="2245355" y="48260"/>
                    <a:pt x="2247260" y="53340"/>
                  </a:cubicBezTo>
                  <a:cubicBezTo>
                    <a:pt x="2248530" y="57785"/>
                    <a:pt x="2249165" y="62865"/>
                    <a:pt x="2249165" y="68580"/>
                  </a:cubicBezTo>
                  <a:lnTo>
                    <a:pt x="2247895" y="68580"/>
                  </a:lnTo>
                  <a:cubicBezTo>
                    <a:pt x="2247895" y="68580"/>
                    <a:pt x="2247895" y="71120"/>
                    <a:pt x="2247895" y="72390"/>
                  </a:cubicBezTo>
                  <a:cubicBezTo>
                    <a:pt x="2247895" y="73660"/>
                    <a:pt x="2247895" y="74295"/>
                    <a:pt x="2247895" y="75565"/>
                  </a:cubicBezTo>
                  <a:lnTo>
                    <a:pt x="2196460" y="75565"/>
                  </a:lnTo>
                  <a:cubicBezTo>
                    <a:pt x="2196460" y="79375"/>
                    <a:pt x="2197730" y="82550"/>
                    <a:pt x="2199000" y="85090"/>
                  </a:cubicBezTo>
                  <a:cubicBezTo>
                    <a:pt x="2200270" y="87630"/>
                    <a:pt x="2201540" y="90170"/>
                    <a:pt x="2203445" y="91440"/>
                  </a:cubicBezTo>
                  <a:cubicBezTo>
                    <a:pt x="2205350" y="93345"/>
                    <a:pt x="2207255" y="94615"/>
                    <a:pt x="2209160" y="95250"/>
                  </a:cubicBezTo>
                  <a:cubicBezTo>
                    <a:pt x="2211065" y="95885"/>
                    <a:pt x="2213605" y="96520"/>
                    <a:pt x="2216145" y="96520"/>
                  </a:cubicBezTo>
                  <a:cubicBezTo>
                    <a:pt x="2218050" y="96520"/>
                    <a:pt x="2219320" y="96520"/>
                    <a:pt x="2221225" y="96520"/>
                  </a:cubicBezTo>
                  <a:cubicBezTo>
                    <a:pt x="2222495" y="96520"/>
                    <a:pt x="2224400" y="95885"/>
                    <a:pt x="2225670" y="95250"/>
                  </a:cubicBezTo>
                  <a:cubicBezTo>
                    <a:pt x="2226940" y="95250"/>
                    <a:pt x="2228210" y="93980"/>
                    <a:pt x="2229480" y="93345"/>
                  </a:cubicBezTo>
                  <a:cubicBezTo>
                    <a:pt x="2230750" y="93345"/>
                    <a:pt x="2232020" y="92075"/>
                    <a:pt x="2233925" y="90805"/>
                  </a:cubicBezTo>
                  <a:lnTo>
                    <a:pt x="2242815" y="100330"/>
                  </a:lnTo>
                  <a:cubicBezTo>
                    <a:pt x="2242815" y="100330"/>
                    <a:pt x="2239005" y="103505"/>
                    <a:pt x="2237100" y="104775"/>
                  </a:cubicBezTo>
                  <a:cubicBezTo>
                    <a:pt x="2235195" y="106045"/>
                    <a:pt x="2233290" y="106680"/>
                    <a:pt x="2231385" y="107950"/>
                  </a:cubicBezTo>
                  <a:cubicBezTo>
                    <a:pt x="2229480" y="108585"/>
                    <a:pt x="2226940" y="109855"/>
                    <a:pt x="2224400" y="109855"/>
                  </a:cubicBezTo>
                  <a:cubicBezTo>
                    <a:pt x="2221860" y="109855"/>
                    <a:pt x="2218685" y="110490"/>
                    <a:pt x="2215510" y="110490"/>
                  </a:cubicBezTo>
                  <a:cubicBezTo>
                    <a:pt x="2212335" y="110490"/>
                    <a:pt x="2209160" y="110490"/>
                    <a:pt x="2205985" y="109220"/>
                  </a:cubicBezTo>
                  <a:cubicBezTo>
                    <a:pt x="2202810" y="108585"/>
                    <a:pt x="2200270" y="107315"/>
                    <a:pt x="2198365" y="105410"/>
                  </a:cubicBezTo>
                  <a:cubicBezTo>
                    <a:pt x="2195825" y="104140"/>
                    <a:pt x="2193920" y="102235"/>
                    <a:pt x="2192015" y="100330"/>
                  </a:cubicBezTo>
                  <a:cubicBezTo>
                    <a:pt x="2190110" y="98425"/>
                    <a:pt x="2188205" y="95885"/>
                    <a:pt x="2186935" y="92710"/>
                  </a:cubicBezTo>
                  <a:cubicBezTo>
                    <a:pt x="2185030" y="89535"/>
                    <a:pt x="2183760" y="86360"/>
                    <a:pt x="2183125" y="82550"/>
                  </a:cubicBezTo>
                  <a:cubicBezTo>
                    <a:pt x="2182490" y="78740"/>
                    <a:pt x="2181855" y="74295"/>
                    <a:pt x="2181855" y="69850"/>
                  </a:cubicBezTo>
                  <a:cubicBezTo>
                    <a:pt x="2181855" y="63500"/>
                    <a:pt x="2182490" y="57150"/>
                    <a:pt x="2184395" y="52070"/>
                  </a:cubicBezTo>
                  <a:cubicBezTo>
                    <a:pt x="2186300" y="46990"/>
                    <a:pt x="2188205" y="42545"/>
                    <a:pt x="2191380" y="39370"/>
                  </a:cubicBezTo>
                  <a:cubicBezTo>
                    <a:pt x="2194555" y="36195"/>
                    <a:pt x="2197730" y="33020"/>
                    <a:pt x="2202175" y="31750"/>
                  </a:cubicBezTo>
                  <a:cubicBezTo>
                    <a:pt x="2206620" y="29845"/>
                    <a:pt x="2211065" y="29210"/>
                    <a:pt x="2216145" y="29210"/>
                  </a:cubicBezTo>
                  <a:close/>
                  <a:moveTo>
                    <a:pt x="2029456" y="29210"/>
                  </a:moveTo>
                  <a:cubicBezTo>
                    <a:pt x="2035171" y="29210"/>
                    <a:pt x="2039616" y="30480"/>
                    <a:pt x="2044061" y="32385"/>
                  </a:cubicBezTo>
                  <a:cubicBezTo>
                    <a:pt x="2047871" y="34290"/>
                    <a:pt x="2051681" y="37465"/>
                    <a:pt x="2054221" y="40640"/>
                  </a:cubicBezTo>
                  <a:cubicBezTo>
                    <a:pt x="2056761" y="44450"/>
                    <a:pt x="2058666" y="48260"/>
                    <a:pt x="2060571" y="53340"/>
                  </a:cubicBezTo>
                  <a:cubicBezTo>
                    <a:pt x="2061841" y="57785"/>
                    <a:pt x="2062476" y="62865"/>
                    <a:pt x="2062476" y="68580"/>
                  </a:cubicBezTo>
                  <a:lnTo>
                    <a:pt x="2061206" y="68580"/>
                  </a:lnTo>
                  <a:cubicBezTo>
                    <a:pt x="2061206" y="68580"/>
                    <a:pt x="2061206" y="71120"/>
                    <a:pt x="2061206" y="72390"/>
                  </a:cubicBezTo>
                  <a:cubicBezTo>
                    <a:pt x="2061206" y="73660"/>
                    <a:pt x="2061206" y="74295"/>
                    <a:pt x="2061206" y="75565"/>
                  </a:cubicBezTo>
                  <a:lnTo>
                    <a:pt x="2009771" y="75565"/>
                  </a:lnTo>
                  <a:cubicBezTo>
                    <a:pt x="2009771" y="79375"/>
                    <a:pt x="2011041" y="82550"/>
                    <a:pt x="2012311" y="85090"/>
                  </a:cubicBezTo>
                  <a:cubicBezTo>
                    <a:pt x="2013581" y="87630"/>
                    <a:pt x="2014851" y="90170"/>
                    <a:pt x="2016756" y="91440"/>
                  </a:cubicBezTo>
                  <a:cubicBezTo>
                    <a:pt x="2018661" y="93345"/>
                    <a:pt x="2020566" y="94615"/>
                    <a:pt x="2022471" y="95250"/>
                  </a:cubicBezTo>
                  <a:cubicBezTo>
                    <a:pt x="2024376" y="95885"/>
                    <a:pt x="2026916" y="96520"/>
                    <a:pt x="2029456" y="96520"/>
                  </a:cubicBezTo>
                  <a:cubicBezTo>
                    <a:pt x="2031361" y="96520"/>
                    <a:pt x="2032631" y="96520"/>
                    <a:pt x="2034536" y="96520"/>
                  </a:cubicBezTo>
                  <a:cubicBezTo>
                    <a:pt x="2035806" y="96520"/>
                    <a:pt x="2037711" y="95885"/>
                    <a:pt x="2038981" y="95250"/>
                  </a:cubicBezTo>
                  <a:cubicBezTo>
                    <a:pt x="2040251" y="95250"/>
                    <a:pt x="2041521" y="93980"/>
                    <a:pt x="2042791" y="93345"/>
                  </a:cubicBezTo>
                  <a:cubicBezTo>
                    <a:pt x="2044061" y="93345"/>
                    <a:pt x="2045331" y="92075"/>
                    <a:pt x="2047236" y="90805"/>
                  </a:cubicBezTo>
                  <a:lnTo>
                    <a:pt x="2056126" y="100330"/>
                  </a:lnTo>
                  <a:cubicBezTo>
                    <a:pt x="2056126" y="100330"/>
                    <a:pt x="2052316" y="103505"/>
                    <a:pt x="2050411" y="104775"/>
                  </a:cubicBezTo>
                  <a:cubicBezTo>
                    <a:pt x="2048506" y="106045"/>
                    <a:pt x="2046601" y="106680"/>
                    <a:pt x="2044696" y="107950"/>
                  </a:cubicBezTo>
                  <a:cubicBezTo>
                    <a:pt x="2042791" y="108585"/>
                    <a:pt x="2040251" y="109855"/>
                    <a:pt x="2037711" y="109855"/>
                  </a:cubicBezTo>
                  <a:cubicBezTo>
                    <a:pt x="2035171" y="109855"/>
                    <a:pt x="2031996" y="110490"/>
                    <a:pt x="2028821" y="110490"/>
                  </a:cubicBezTo>
                  <a:cubicBezTo>
                    <a:pt x="2025646" y="110490"/>
                    <a:pt x="2022471" y="110490"/>
                    <a:pt x="2019296" y="109220"/>
                  </a:cubicBezTo>
                  <a:cubicBezTo>
                    <a:pt x="2016121" y="108585"/>
                    <a:pt x="2013581" y="107315"/>
                    <a:pt x="2011676" y="105410"/>
                  </a:cubicBezTo>
                  <a:cubicBezTo>
                    <a:pt x="2009136" y="104140"/>
                    <a:pt x="2007231" y="102235"/>
                    <a:pt x="2005326" y="100330"/>
                  </a:cubicBezTo>
                  <a:cubicBezTo>
                    <a:pt x="2003421" y="98425"/>
                    <a:pt x="2001516" y="95885"/>
                    <a:pt x="2000246" y="92710"/>
                  </a:cubicBezTo>
                  <a:cubicBezTo>
                    <a:pt x="1998341" y="89535"/>
                    <a:pt x="1997071" y="86360"/>
                    <a:pt x="1996436" y="82550"/>
                  </a:cubicBezTo>
                  <a:cubicBezTo>
                    <a:pt x="1995801" y="78740"/>
                    <a:pt x="1995166" y="74295"/>
                    <a:pt x="1995166" y="69850"/>
                  </a:cubicBezTo>
                  <a:cubicBezTo>
                    <a:pt x="1995166" y="63500"/>
                    <a:pt x="1995801" y="57150"/>
                    <a:pt x="1997706" y="52070"/>
                  </a:cubicBezTo>
                  <a:cubicBezTo>
                    <a:pt x="1999611" y="46990"/>
                    <a:pt x="2001516" y="42545"/>
                    <a:pt x="2004691" y="39370"/>
                  </a:cubicBezTo>
                  <a:cubicBezTo>
                    <a:pt x="2007866" y="36195"/>
                    <a:pt x="2011041" y="33020"/>
                    <a:pt x="2015486" y="31750"/>
                  </a:cubicBezTo>
                  <a:cubicBezTo>
                    <a:pt x="2019931" y="29845"/>
                    <a:pt x="2024376" y="29210"/>
                    <a:pt x="2029456" y="29210"/>
                  </a:cubicBezTo>
                  <a:close/>
                  <a:moveTo>
                    <a:pt x="1831336" y="29210"/>
                  </a:moveTo>
                  <a:cubicBezTo>
                    <a:pt x="1837051" y="29210"/>
                    <a:pt x="1841496" y="30480"/>
                    <a:pt x="1845941" y="32385"/>
                  </a:cubicBezTo>
                  <a:cubicBezTo>
                    <a:pt x="1849751" y="34290"/>
                    <a:pt x="1853561" y="37465"/>
                    <a:pt x="1856101" y="40640"/>
                  </a:cubicBezTo>
                  <a:cubicBezTo>
                    <a:pt x="1858641" y="44450"/>
                    <a:pt x="1860546" y="48260"/>
                    <a:pt x="1862451" y="53340"/>
                  </a:cubicBezTo>
                  <a:cubicBezTo>
                    <a:pt x="1863721" y="57785"/>
                    <a:pt x="1864356" y="62865"/>
                    <a:pt x="1864356" y="68580"/>
                  </a:cubicBezTo>
                  <a:lnTo>
                    <a:pt x="1863086" y="68580"/>
                  </a:lnTo>
                  <a:cubicBezTo>
                    <a:pt x="1863086" y="68580"/>
                    <a:pt x="1863086" y="71120"/>
                    <a:pt x="1863086" y="72390"/>
                  </a:cubicBezTo>
                  <a:cubicBezTo>
                    <a:pt x="1863086" y="73660"/>
                    <a:pt x="1863086" y="74295"/>
                    <a:pt x="1863086" y="75565"/>
                  </a:cubicBezTo>
                  <a:lnTo>
                    <a:pt x="1811651" y="75565"/>
                  </a:lnTo>
                  <a:cubicBezTo>
                    <a:pt x="1811651" y="79375"/>
                    <a:pt x="1812921" y="82550"/>
                    <a:pt x="1814191" y="85090"/>
                  </a:cubicBezTo>
                  <a:cubicBezTo>
                    <a:pt x="1815461" y="87630"/>
                    <a:pt x="1816731" y="90170"/>
                    <a:pt x="1818636" y="91440"/>
                  </a:cubicBezTo>
                  <a:cubicBezTo>
                    <a:pt x="1820541" y="93345"/>
                    <a:pt x="1822446" y="94615"/>
                    <a:pt x="1824351" y="95250"/>
                  </a:cubicBezTo>
                  <a:cubicBezTo>
                    <a:pt x="1826256" y="95885"/>
                    <a:pt x="1828796" y="96520"/>
                    <a:pt x="1831336" y="96520"/>
                  </a:cubicBezTo>
                  <a:cubicBezTo>
                    <a:pt x="1833241" y="96520"/>
                    <a:pt x="1834511" y="96520"/>
                    <a:pt x="1836416" y="96520"/>
                  </a:cubicBezTo>
                  <a:cubicBezTo>
                    <a:pt x="1837686" y="96520"/>
                    <a:pt x="1839591" y="95885"/>
                    <a:pt x="1840861" y="95250"/>
                  </a:cubicBezTo>
                  <a:cubicBezTo>
                    <a:pt x="1842131" y="95250"/>
                    <a:pt x="1843401" y="93980"/>
                    <a:pt x="1844671" y="93345"/>
                  </a:cubicBezTo>
                  <a:cubicBezTo>
                    <a:pt x="1845941" y="93345"/>
                    <a:pt x="1847211" y="92075"/>
                    <a:pt x="1849116" y="90805"/>
                  </a:cubicBezTo>
                  <a:lnTo>
                    <a:pt x="1858006" y="100330"/>
                  </a:lnTo>
                  <a:cubicBezTo>
                    <a:pt x="1858006" y="100330"/>
                    <a:pt x="1854196" y="103505"/>
                    <a:pt x="1852291" y="104775"/>
                  </a:cubicBezTo>
                  <a:cubicBezTo>
                    <a:pt x="1850386" y="106045"/>
                    <a:pt x="1848481" y="106680"/>
                    <a:pt x="1846576" y="107950"/>
                  </a:cubicBezTo>
                  <a:cubicBezTo>
                    <a:pt x="1844671" y="108585"/>
                    <a:pt x="1842131" y="109855"/>
                    <a:pt x="1839591" y="109855"/>
                  </a:cubicBezTo>
                  <a:cubicBezTo>
                    <a:pt x="1837051" y="109855"/>
                    <a:pt x="1833876" y="110490"/>
                    <a:pt x="1830701" y="110490"/>
                  </a:cubicBezTo>
                  <a:cubicBezTo>
                    <a:pt x="1827526" y="110490"/>
                    <a:pt x="1824351" y="110490"/>
                    <a:pt x="1821176" y="109220"/>
                  </a:cubicBezTo>
                  <a:cubicBezTo>
                    <a:pt x="1818001" y="108585"/>
                    <a:pt x="1815461" y="107315"/>
                    <a:pt x="1813556" y="105410"/>
                  </a:cubicBezTo>
                  <a:cubicBezTo>
                    <a:pt x="1811016" y="104140"/>
                    <a:pt x="1809111" y="102235"/>
                    <a:pt x="1807206" y="100330"/>
                  </a:cubicBezTo>
                  <a:cubicBezTo>
                    <a:pt x="1805301" y="98425"/>
                    <a:pt x="1803396" y="95885"/>
                    <a:pt x="1802126" y="92710"/>
                  </a:cubicBezTo>
                  <a:cubicBezTo>
                    <a:pt x="1800221" y="89535"/>
                    <a:pt x="1798951" y="86360"/>
                    <a:pt x="1798316" y="82550"/>
                  </a:cubicBezTo>
                  <a:cubicBezTo>
                    <a:pt x="1797681" y="78740"/>
                    <a:pt x="1797046" y="74295"/>
                    <a:pt x="1797046" y="69850"/>
                  </a:cubicBezTo>
                  <a:cubicBezTo>
                    <a:pt x="1797046" y="63500"/>
                    <a:pt x="1797681" y="57150"/>
                    <a:pt x="1799586" y="52070"/>
                  </a:cubicBezTo>
                  <a:cubicBezTo>
                    <a:pt x="1801491" y="46990"/>
                    <a:pt x="1803396" y="42545"/>
                    <a:pt x="1806571" y="39370"/>
                  </a:cubicBezTo>
                  <a:cubicBezTo>
                    <a:pt x="1809746" y="36195"/>
                    <a:pt x="1812921" y="33020"/>
                    <a:pt x="1817366" y="31750"/>
                  </a:cubicBezTo>
                  <a:cubicBezTo>
                    <a:pt x="1821811" y="29845"/>
                    <a:pt x="1826256" y="29210"/>
                    <a:pt x="1831336" y="29210"/>
                  </a:cubicBezTo>
                  <a:close/>
                  <a:moveTo>
                    <a:pt x="1501140" y="29210"/>
                  </a:moveTo>
                  <a:cubicBezTo>
                    <a:pt x="1503046" y="29210"/>
                    <a:pt x="1504951" y="29210"/>
                    <a:pt x="1506856" y="29210"/>
                  </a:cubicBezTo>
                  <a:cubicBezTo>
                    <a:pt x="1511301" y="29210"/>
                    <a:pt x="1515746" y="29845"/>
                    <a:pt x="1518920" y="31750"/>
                  </a:cubicBezTo>
                  <a:cubicBezTo>
                    <a:pt x="1522096" y="33020"/>
                    <a:pt x="1525271" y="35560"/>
                    <a:pt x="1527811" y="38100"/>
                  </a:cubicBezTo>
                  <a:cubicBezTo>
                    <a:pt x="1530351" y="41275"/>
                    <a:pt x="1531621" y="44450"/>
                    <a:pt x="1532891" y="48895"/>
                  </a:cubicBezTo>
                  <a:cubicBezTo>
                    <a:pt x="1534161" y="53340"/>
                    <a:pt x="1534796" y="58420"/>
                    <a:pt x="1534796" y="64135"/>
                  </a:cubicBezTo>
                  <a:lnTo>
                    <a:pt x="1534796" y="108585"/>
                  </a:lnTo>
                  <a:lnTo>
                    <a:pt x="1519556" y="108585"/>
                  </a:lnTo>
                  <a:lnTo>
                    <a:pt x="1518920" y="108585"/>
                  </a:lnTo>
                  <a:lnTo>
                    <a:pt x="1518920" y="64770"/>
                  </a:lnTo>
                  <a:cubicBezTo>
                    <a:pt x="1518920" y="57785"/>
                    <a:pt x="1517651" y="52070"/>
                    <a:pt x="1515111" y="48895"/>
                  </a:cubicBezTo>
                  <a:cubicBezTo>
                    <a:pt x="1512571" y="45085"/>
                    <a:pt x="1508761" y="43180"/>
                    <a:pt x="1503046" y="43180"/>
                  </a:cubicBezTo>
                  <a:cubicBezTo>
                    <a:pt x="1500506" y="43180"/>
                    <a:pt x="1498601" y="43180"/>
                    <a:pt x="1496061" y="44450"/>
                  </a:cubicBezTo>
                  <a:cubicBezTo>
                    <a:pt x="1494156" y="45085"/>
                    <a:pt x="1492250" y="46990"/>
                    <a:pt x="1490981" y="48260"/>
                  </a:cubicBezTo>
                  <a:cubicBezTo>
                    <a:pt x="1489711" y="50165"/>
                    <a:pt x="1488441" y="52070"/>
                    <a:pt x="1487806" y="54610"/>
                  </a:cubicBezTo>
                  <a:cubicBezTo>
                    <a:pt x="1487806" y="57150"/>
                    <a:pt x="1487170" y="59690"/>
                    <a:pt x="1487170" y="62865"/>
                  </a:cubicBezTo>
                  <a:lnTo>
                    <a:pt x="1487170" y="108585"/>
                  </a:lnTo>
                  <a:lnTo>
                    <a:pt x="1471931" y="108585"/>
                  </a:lnTo>
                  <a:lnTo>
                    <a:pt x="1471931" y="30480"/>
                  </a:lnTo>
                  <a:lnTo>
                    <a:pt x="1487170" y="30480"/>
                  </a:lnTo>
                  <a:lnTo>
                    <a:pt x="1487170" y="38100"/>
                  </a:lnTo>
                  <a:cubicBezTo>
                    <a:pt x="1487170" y="38100"/>
                    <a:pt x="1489076" y="35560"/>
                    <a:pt x="1490981" y="34290"/>
                  </a:cubicBezTo>
                  <a:cubicBezTo>
                    <a:pt x="1492250" y="33020"/>
                    <a:pt x="1494156" y="32385"/>
                    <a:pt x="1495426" y="31115"/>
                  </a:cubicBezTo>
                  <a:cubicBezTo>
                    <a:pt x="1497331" y="30480"/>
                    <a:pt x="1499236" y="29845"/>
                    <a:pt x="1501140" y="29210"/>
                  </a:cubicBezTo>
                  <a:close/>
                  <a:moveTo>
                    <a:pt x="1250316" y="29210"/>
                  </a:moveTo>
                  <a:cubicBezTo>
                    <a:pt x="1255396" y="29210"/>
                    <a:pt x="1259841" y="29845"/>
                    <a:pt x="1264286" y="31750"/>
                  </a:cubicBezTo>
                  <a:cubicBezTo>
                    <a:pt x="1268731" y="33655"/>
                    <a:pt x="1273176" y="35560"/>
                    <a:pt x="1276350" y="38100"/>
                  </a:cubicBezTo>
                  <a:lnTo>
                    <a:pt x="1278256" y="38100"/>
                  </a:lnTo>
                  <a:lnTo>
                    <a:pt x="1271271" y="50165"/>
                  </a:lnTo>
                  <a:cubicBezTo>
                    <a:pt x="1268095" y="47625"/>
                    <a:pt x="1264921" y="46355"/>
                    <a:pt x="1261746" y="45085"/>
                  </a:cubicBezTo>
                  <a:cubicBezTo>
                    <a:pt x="1258570" y="43815"/>
                    <a:pt x="1254761" y="43180"/>
                    <a:pt x="1250951" y="43180"/>
                  </a:cubicBezTo>
                  <a:cubicBezTo>
                    <a:pt x="1247141" y="43180"/>
                    <a:pt x="1244601" y="43815"/>
                    <a:pt x="1242696" y="45085"/>
                  </a:cubicBezTo>
                  <a:cubicBezTo>
                    <a:pt x="1240791" y="46355"/>
                    <a:pt x="1240156" y="48260"/>
                    <a:pt x="1240156" y="50165"/>
                  </a:cubicBezTo>
                  <a:cubicBezTo>
                    <a:pt x="1240156" y="51435"/>
                    <a:pt x="1240156" y="52070"/>
                    <a:pt x="1240156" y="52705"/>
                  </a:cubicBezTo>
                  <a:cubicBezTo>
                    <a:pt x="1240156" y="53340"/>
                    <a:pt x="1241426" y="54610"/>
                    <a:pt x="1242061" y="55245"/>
                  </a:cubicBezTo>
                  <a:cubicBezTo>
                    <a:pt x="1243331" y="55880"/>
                    <a:pt x="1244601" y="57150"/>
                    <a:pt x="1246506" y="57785"/>
                  </a:cubicBezTo>
                  <a:cubicBezTo>
                    <a:pt x="1248411" y="59055"/>
                    <a:pt x="1250951" y="59690"/>
                    <a:pt x="1253491" y="60960"/>
                  </a:cubicBezTo>
                  <a:cubicBezTo>
                    <a:pt x="1257936" y="62865"/>
                    <a:pt x="1261746" y="64135"/>
                    <a:pt x="1264921" y="66040"/>
                  </a:cubicBezTo>
                  <a:cubicBezTo>
                    <a:pt x="1268095" y="67310"/>
                    <a:pt x="1270635" y="69215"/>
                    <a:pt x="1273176" y="71120"/>
                  </a:cubicBezTo>
                  <a:cubicBezTo>
                    <a:pt x="1275080" y="73025"/>
                    <a:pt x="1276985" y="75565"/>
                    <a:pt x="1278256" y="78105"/>
                  </a:cubicBezTo>
                  <a:cubicBezTo>
                    <a:pt x="1279525" y="80645"/>
                    <a:pt x="1280161" y="83820"/>
                    <a:pt x="1280161" y="87630"/>
                  </a:cubicBezTo>
                  <a:cubicBezTo>
                    <a:pt x="1280161" y="92075"/>
                    <a:pt x="1279525" y="95250"/>
                    <a:pt x="1277621" y="98425"/>
                  </a:cubicBezTo>
                  <a:cubicBezTo>
                    <a:pt x="1275716" y="101600"/>
                    <a:pt x="1273811" y="103505"/>
                    <a:pt x="1271271" y="105410"/>
                  </a:cubicBezTo>
                  <a:cubicBezTo>
                    <a:pt x="1268731" y="107315"/>
                    <a:pt x="1265556" y="108585"/>
                    <a:pt x="1261746" y="109220"/>
                  </a:cubicBezTo>
                  <a:cubicBezTo>
                    <a:pt x="1257936" y="109855"/>
                    <a:pt x="1254761" y="110490"/>
                    <a:pt x="1250951" y="110490"/>
                  </a:cubicBezTo>
                  <a:cubicBezTo>
                    <a:pt x="1245871" y="110490"/>
                    <a:pt x="1240791" y="109855"/>
                    <a:pt x="1235711" y="107950"/>
                  </a:cubicBezTo>
                  <a:cubicBezTo>
                    <a:pt x="1229996" y="106045"/>
                    <a:pt x="1225551" y="103505"/>
                    <a:pt x="1221106" y="100965"/>
                  </a:cubicBezTo>
                  <a:lnTo>
                    <a:pt x="1228091" y="89535"/>
                  </a:lnTo>
                  <a:cubicBezTo>
                    <a:pt x="1231901" y="92075"/>
                    <a:pt x="1235711" y="93980"/>
                    <a:pt x="1239521" y="95250"/>
                  </a:cubicBezTo>
                  <a:cubicBezTo>
                    <a:pt x="1243331" y="96520"/>
                    <a:pt x="1247141" y="97155"/>
                    <a:pt x="1250951" y="97155"/>
                  </a:cubicBezTo>
                  <a:cubicBezTo>
                    <a:pt x="1256031" y="97155"/>
                    <a:pt x="1259205" y="96520"/>
                    <a:pt x="1261746" y="94615"/>
                  </a:cubicBezTo>
                  <a:cubicBezTo>
                    <a:pt x="1264286" y="93345"/>
                    <a:pt x="1264921" y="90805"/>
                    <a:pt x="1264921" y="88265"/>
                  </a:cubicBezTo>
                  <a:cubicBezTo>
                    <a:pt x="1264921" y="86995"/>
                    <a:pt x="1264921" y="85725"/>
                    <a:pt x="1263650" y="84455"/>
                  </a:cubicBezTo>
                  <a:cubicBezTo>
                    <a:pt x="1263015" y="83185"/>
                    <a:pt x="1261746" y="82550"/>
                    <a:pt x="1259841" y="81280"/>
                  </a:cubicBezTo>
                  <a:cubicBezTo>
                    <a:pt x="1258570" y="80010"/>
                    <a:pt x="1256666" y="79375"/>
                    <a:pt x="1254125" y="78105"/>
                  </a:cubicBezTo>
                  <a:cubicBezTo>
                    <a:pt x="1252221" y="77470"/>
                    <a:pt x="1249681" y="76200"/>
                    <a:pt x="1246506" y="74930"/>
                  </a:cubicBezTo>
                  <a:cubicBezTo>
                    <a:pt x="1242061" y="73025"/>
                    <a:pt x="1238886" y="71755"/>
                    <a:pt x="1235711" y="69850"/>
                  </a:cubicBezTo>
                  <a:cubicBezTo>
                    <a:pt x="1232536" y="67945"/>
                    <a:pt x="1230631" y="66675"/>
                    <a:pt x="1228726" y="64770"/>
                  </a:cubicBezTo>
                  <a:cubicBezTo>
                    <a:pt x="1226821" y="62865"/>
                    <a:pt x="1225551" y="60960"/>
                    <a:pt x="1224916" y="58420"/>
                  </a:cubicBezTo>
                  <a:cubicBezTo>
                    <a:pt x="1224281" y="55880"/>
                    <a:pt x="1223646" y="53340"/>
                    <a:pt x="1223646" y="50165"/>
                  </a:cubicBezTo>
                  <a:cubicBezTo>
                    <a:pt x="1223646" y="46990"/>
                    <a:pt x="1224281" y="43815"/>
                    <a:pt x="1225551" y="40640"/>
                  </a:cubicBezTo>
                  <a:cubicBezTo>
                    <a:pt x="1226821" y="38100"/>
                    <a:pt x="1228726" y="35560"/>
                    <a:pt x="1231266" y="34290"/>
                  </a:cubicBezTo>
                  <a:cubicBezTo>
                    <a:pt x="1233806" y="32385"/>
                    <a:pt x="1236346" y="31115"/>
                    <a:pt x="1239521" y="30480"/>
                  </a:cubicBezTo>
                  <a:cubicBezTo>
                    <a:pt x="1242696" y="29845"/>
                    <a:pt x="1246506" y="29210"/>
                    <a:pt x="1250316" y="29210"/>
                  </a:cubicBezTo>
                  <a:close/>
                  <a:moveTo>
                    <a:pt x="1180466" y="29210"/>
                  </a:moveTo>
                  <a:cubicBezTo>
                    <a:pt x="1186181" y="29210"/>
                    <a:pt x="1190626" y="30480"/>
                    <a:pt x="1195071" y="32385"/>
                  </a:cubicBezTo>
                  <a:cubicBezTo>
                    <a:pt x="1198881" y="34290"/>
                    <a:pt x="1202691" y="37465"/>
                    <a:pt x="1205231" y="40640"/>
                  </a:cubicBezTo>
                  <a:cubicBezTo>
                    <a:pt x="1207771" y="44450"/>
                    <a:pt x="1209676" y="48260"/>
                    <a:pt x="1211581" y="53340"/>
                  </a:cubicBezTo>
                  <a:cubicBezTo>
                    <a:pt x="1212851" y="57785"/>
                    <a:pt x="1213486" y="62865"/>
                    <a:pt x="1213486" y="68580"/>
                  </a:cubicBezTo>
                  <a:lnTo>
                    <a:pt x="1212216" y="68580"/>
                  </a:lnTo>
                  <a:cubicBezTo>
                    <a:pt x="1212216" y="68580"/>
                    <a:pt x="1212216" y="71120"/>
                    <a:pt x="1212216" y="72390"/>
                  </a:cubicBezTo>
                  <a:cubicBezTo>
                    <a:pt x="1212216" y="73660"/>
                    <a:pt x="1212216" y="74295"/>
                    <a:pt x="1212216" y="75565"/>
                  </a:cubicBezTo>
                  <a:lnTo>
                    <a:pt x="1160781" y="75565"/>
                  </a:lnTo>
                  <a:cubicBezTo>
                    <a:pt x="1160781" y="79375"/>
                    <a:pt x="1162051" y="82550"/>
                    <a:pt x="1163321" y="85090"/>
                  </a:cubicBezTo>
                  <a:cubicBezTo>
                    <a:pt x="1164591" y="87630"/>
                    <a:pt x="1165861" y="90170"/>
                    <a:pt x="1167766" y="91440"/>
                  </a:cubicBezTo>
                  <a:cubicBezTo>
                    <a:pt x="1169671" y="93345"/>
                    <a:pt x="1171576" y="94615"/>
                    <a:pt x="1173481" y="95250"/>
                  </a:cubicBezTo>
                  <a:cubicBezTo>
                    <a:pt x="1175386" y="95885"/>
                    <a:pt x="1177926" y="96520"/>
                    <a:pt x="1180466" y="96520"/>
                  </a:cubicBezTo>
                  <a:cubicBezTo>
                    <a:pt x="1182371" y="96520"/>
                    <a:pt x="1183641" y="96520"/>
                    <a:pt x="1185546" y="96520"/>
                  </a:cubicBezTo>
                  <a:cubicBezTo>
                    <a:pt x="1186816" y="96520"/>
                    <a:pt x="1188721" y="95885"/>
                    <a:pt x="1189991" y="95250"/>
                  </a:cubicBezTo>
                  <a:cubicBezTo>
                    <a:pt x="1191261" y="95250"/>
                    <a:pt x="1192531" y="93980"/>
                    <a:pt x="1193801" y="93345"/>
                  </a:cubicBezTo>
                  <a:cubicBezTo>
                    <a:pt x="1195071" y="93345"/>
                    <a:pt x="1196341" y="92075"/>
                    <a:pt x="1198246" y="90805"/>
                  </a:cubicBezTo>
                  <a:lnTo>
                    <a:pt x="1207136" y="100330"/>
                  </a:lnTo>
                  <a:cubicBezTo>
                    <a:pt x="1207136" y="100330"/>
                    <a:pt x="1203326" y="103505"/>
                    <a:pt x="1201421" y="104775"/>
                  </a:cubicBezTo>
                  <a:cubicBezTo>
                    <a:pt x="1199516" y="106045"/>
                    <a:pt x="1197611" y="106680"/>
                    <a:pt x="1195706" y="107950"/>
                  </a:cubicBezTo>
                  <a:cubicBezTo>
                    <a:pt x="1193801" y="108585"/>
                    <a:pt x="1191261" y="109855"/>
                    <a:pt x="1188721" y="109855"/>
                  </a:cubicBezTo>
                  <a:cubicBezTo>
                    <a:pt x="1186181" y="109855"/>
                    <a:pt x="1183006" y="110490"/>
                    <a:pt x="1179831" y="110490"/>
                  </a:cubicBezTo>
                  <a:cubicBezTo>
                    <a:pt x="1176656" y="110490"/>
                    <a:pt x="1173481" y="110490"/>
                    <a:pt x="1170306" y="109220"/>
                  </a:cubicBezTo>
                  <a:cubicBezTo>
                    <a:pt x="1167131" y="108585"/>
                    <a:pt x="1164591" y="107315"/>
                    <a:pt x="1162686" y="105410"/>
                  </a:cubicBezTo>
                  <a:cubicBezTo>
                    <a:pt x="1160781" y="103505"/>
                    <a:pt x="1158241" y="102235"/>
                    <a:pt x="1156336" y="100330"/>
                  </a:cubicBezTo>
                  <a:cubicBezTo>
                    <a:pt x="1154431" y="98425"/>
                    <a:pt x="1152526" y="95885"/>
                    <a:pt x="1151256" y="92710"/>
                  </a:cubicBezTo>
                  <a:cubicBezTo>
                    <a:pt x="1149351" y="89535"/>
                    <a:pt x="1148081" y="86360"/>
                    <a:pt x="1147446" y="82550"/>
                  </a:cubicBezTo>
                  <a:cubicBezTo>
                    <a:pt x="1146811" y="78740"/>
                    <a:pt x="1146176" y="74295"/>
                    <a:pt x="1146176" y="69850"/>
                  </a:cubicBezTo>
                  <a:cubicBezTo>
                    <a:pt x="1146176" y="63500"/>
                    <a:pt x="1146811" y="57150"/>
                    <a:pt x="1148716" y="52070"/>
                  </a:cubicBezTo>
                  <a:cubicBezTo>
                    <a:pt x="1150621" y="46990"/>
                    <a:pt x="1152526" y="42545"/>
                    <a:pt x="1155701" y="39370"/>
                  </a:cubicBezTo>
                  <a:cubicBezTo>
                    <a:pt x="1158876" y="36195"/>
                    <a:pt x="1162051" y="33020"/>
                    <a:pt x="1166496" y="31750"/>
                  </a:cubicBezTo>
                  <a:cubicBezTo>
                    <a:pt x="1170941" y="29845"/>
                    <a:pt x="1175386" y="29210"/>
                    <a:pt x="1180466" y="29210"/>
                  </a:cubicBezTo>
                  <a:close/>
                  <a:moveTo>
                    <a:pt x="901065" y="29210"/>
                  </a:moveTo>
                  <a:cubicBezTo>
                    <a:pt x="906780" y="29210"/>
                    <a:pt x="911225" y="30480"/>
                    <a:pt x="915670" y="32385"/>
                  </a:cubicBezTo>
                  <a:cubicBezTo>
                    <a:pt x="919480" y="34290"/>
                    <a:pt x="923290" y="37465"/>
                    <a:pt x="925830" y="40640"/>
                  </a:cubicBezTo>
                  <a:cubicBezTo>
                    <a:pt x="928370" y="44450"/>
                    <a:pt x="930275" y="48260"/>
                    <a:pt x="932180" y="53340"/>
                  </a:cubicBezTo>
                  <a:cubicBezTo>
                    <a:pt x="933450" y="57785"/>
                    <a:pt x="934085" y="62865"/>
                    <a:pt x="934085" y="68580"/>
                  </a:cubicBezTo>
                  <a:lnTo>
                    <a:pt x="932815" y="68580"/>
                  </a:lnTo>
                  <a:cubicBezTo>
                    <a:pt x="932815" y="68580"/>
                    <a:pt x="932815" y="71120"/>
                    <a:pt x="932815" y="72390"/>
                  </a:cubicBezTo>
                  <a:cubicBezTo>
                    <a:pt x="932815" y="73660"/>
                    <a:pt x="932815" y="74295"/>
                    <a:pt x="932815" y="75565"/>
                  </a:cubicBezTo>
                  <a:lnTo>
                    <a:pt x="881380" y="75565"/>
                  </a:lnTo>
                  <a:cubicBezTo>
                    <a:pt x="881380" y="79375"/>
                    <a:pt x="882650" y="82550"/>
                    <a:pt x="883920" y="85090"/>
                  </a:cubicBezTo>
                  <a:cubicBezTo>
                    <a:pt x="885190" y="87630"/>
                    <a:pt x="886460" y="90170"/>
                    <a:pt x="888365" y="91440"/>
                  </a:cubicBezTo>
                  <a:cubicBezTo>
                    <a:pt x="890270" y="93345"/>
                    <a:pt x="892175" y="94615"/>
                    <a:pt x="894080" y="95250"/>
                  </a:cubicBezTo>
                  <a:cubicBezTo>
                    <a:pt x="895985" y="95885"/>
                    <a:pt x="898525" y="96520"/>
                    <a:pt x="901065" y="96520"/>
                  </a:cubicBezTo>
                  <a:cubicBezTo>
                    <a:pt x="902970" y="96520"/>
                    <a:pt x="904240" y="96520"/>
                    <a:pt x="906145" y="96520"/>
                  </a:cubicBezTo>
                  <a:cubicBezTo>
                    <a:pt x="907415" y="96520"/>
                    <a:pt x="909320" y="95885"/>
                    <a:pt x="910590" y="95250"/>
                  </a:cubicBezTo>
                  <a:cubicBezTo>
                    <a:pt x="911860" y="95250"/>
                    <a:pt x="913130" y="93980"/>
                    <a:pt x="914400" y="93345"/>
                  </a:cubicBezTo>
                  <a:cubicBezTo>
                    <a:pt x="915670" y="93345"/>
                    <a:pt x="916940" y="92075"/>
                    <a:pt x="918845" y="90805"/>
                  </a:cubicBezTo>
                  <a:lnTo>
                    <a:pt x="927735" y="100330"/>
                  </a:lnTo>
                  <a:cubicBezTo>
                    <a:pt x="927735" y="100330"/>
                    <a:pt x="923925" y="103505"/>
                    <a:pt x="922020" y="104775"/>
                  </a:cubicBezTo>
                  <a:cubicBezTo>
                    <a:pt x="920115" y="106045"/>
                    <a:pt x="918210" y="106680"/>
                    <a:pt x="916305" y="107950"/>
                  </a:cubicBezTo>
                  <a:cubicBezTo>
                    <a:pt x="914400" y="108585"/>
                    <a:pt x="911860" y="109855"/>
                    <a:pt x="909320" y="109855"/>
                  </a:cubicBezTo>
                  <a:cubicBezTo>
                    <a:pt x="906780" y="109855"/>
                    <a:pt x="903605" y="110490"/>
                    <a:pt x="900430" y="110490"/>
                  </a:cubicBezTo>
                  <a:cubicBezTo>
                    <a:pt x="897255" y="110490"/>
                    <a:pt x="894080" y="110490"/>
                    <a:pt x="890905" y="109220"/>
                  </a:cubicBezTo>
                  <a:cubicBezTo>
                    <a:pt x="887730" y="108585"/>
                    <a:pt x="885190" y="107315"/>
                    <a:pt x="883285" y="105410"/>
                  </a:cubicBezTo>
                  <a:cubicBezTo>
                    <a:pt x="881380" y="103505"/>
                    <a:pt x="878840" y="102235"/>
                    <a:pt x="876935" y="100330"/>
                  </a:cubicBezTo>
                  <a:cubicBezTo>
                    <a:pt x="875030" y="98425"/>
                    <a:pt x="873125" y="95885"/>
                    <a:pt x="871855" y="92710"/>
                  </a:cubicBezTo>
                  <a:cubicBezTo>
                    <a:pt x="869950" y="89535"/>
                    <a:pt x="868680" y="86360"/>
                    <a:pt x="868045" y="82550"/>
                  </a:cubicBezTo>
                  <a:cubicBezTo>
                    <a:pt x="867410" y="78740"/>
                    <a:pt x="866775" y="74295"/>
                    <a:pt x="866775" y="69850"/>
                  </a:cubicBezTo>
                  <a:cubicBezTo>
                    <a:pt x="866775" y="63500"/>
                    <a:pt x="867410" y="57150"/>
                    <a:pt x="869315" y="52070"/>
                  </a:cubicBezTo>
                  <a:cubicBezTo>
                    <a:pt x="871220" y="46990"/>
                    <a:pt x="873125" y="42545"/>
                    <a:pt x="876300" y="39370"/>
                  </a:cubicBezTo>
                  <a:cubicBezTo>
                    <a:pt x="879475" y="36195"/>
                    <a:pt x="882650" y="33020"/>
                    <a:pt x="887095" y="31750"/>
                  </a:cubicBezTo>
                  <a:cubicBezTo>
                    <a:pt x="891540" y="29845"/>
                    <a:pt x="895985" y="29210"/>
                    <a:pt x="901065" y="29210"/>
                  </a:cubicBezTo>
                  <a:close/>
                  <a:moveTo>
                    <a:pt x="668656" y="29210"/>
                  </a:moveTo>
                  <a:cubicBezTo>
                    <a:pt x="671830" y="29210"/>
                    <a:pt x="674370" y="29210"/>
                    <a:pt x="676275" y="29845"/>
                  </a:cubicBezTo>
                  <a:cubicBezTo>
                    <a:pt x="678181" y="29845"/>
                    <a:pt x="680086" y="31115"/>
                    <a:pt x="681991" y="32385"/>
                  </a:cubicBezTo>
                  <a:lnTo>
                    <a:pt x="678181" y="46990"/>
                  </a:lnTo>
                  <a:lnTo>
                    <a:pt x="676910" y="46990"/>
                  </a:lnTo>
                  <a:cubicBezTo>
                    <a:pt x="676910" y="46990"/>
                    <a:pt x="673736" y="45085"/>
                    <a:pt x="671830" y="45085"/>
                  </a:cubicBezTo>
                  <a:cubicBezTo>
                    <a:pt x="669925" y="45085"/>
                    <a:pt x="668020" y="44450"/>
                    <a:pt x="665480" y="44450"/>
                  </a:cubicBezTo>
                  <a:cubicBezTo>
                    <a:pt x="660400" y="44450"/>
                    <a:pt x="656590" y="46355"/>
                    <a:pt x="654050" y="49530"/>
                  </a:cubicBezTo>
                  <a:cubicBezTo>
                    <a:pt x="651510" y="52705"/>
                    <a:pt x="650240" y="57785"/>
                    <a:pt x="650240" y="64770"/>
                  </a:cubicBezTo>
                  <a:lnTo>
                    <a:pt x="650240" y="109220"/>
                  </a:lnTo>
                  <a:lnTo>
                    <a:pt x="635000" y="109220"/>
                  </a:lnTo>
                  <a:lnTo>
                    <a:pt x="635000" y="31115"/>
                  </a:lnTo>
                  <a:lnTo>
                    <a:pt x="650240" y="31115"/>
                  </a:lnTo>
                  <a:lnTo>
                    <a:pt x="650240" y="38735"/>
                  </a:lnTo>
                  <a:cubicBezTo>
                    <a:pt x="650240" y="38735"/>
                    <a:pt x="652145" y="36195"/>
                    <a:pt x="653416" y="34925"/>
                  </a:cubicBezTo>
                  <a:cubicBezTo>
                    <a:pt x="654685" y="33655"/>
                    <a:pt x="655955" y="33020"/>
                    <a:pt x="657861" y="31750"/>
                  </a:cubicBezTo>
                  <a:cubicBezTo>
                    <a:pt x="659130" y="31115"/>
                    <a:pt x="661035" y="30480"/>
                    <a:pt x="662940" y="29845"/>
                  </a:cubicBezTo>
                  <a:cubicBezTo>
                    <a:pt x="664845" y="29845"/>
                    <a:pt x="666751" y="29210"/>
                    <a:pt x="668656" y="29210"/>
                  </a:cubicBezTo>
                  <a:close/>
                  <a:moveTo>
                    <a:pt x="586739" y="29210"/>
                  </a:moveTo>
                  <a:cubicBezTo>
                    <a:pt x="592454" y="29210"/>
                    <a:pt x="596899" y="30480"/>
                    <a:pt x="601344" y="32385"/>
                  </a:cubicBezTo>
                  <a:cubicBezTo>
                    <a:pt x="605154" y="34290"/>
                    <a:pt x="608964" y="37465"/>
                    <a:pt x="611504" y="40640"/>
                  </a:cubicBezTo>
                  <a:cubicBezTo>
                    <a:pt x="614044" y="44450"/>
                    <a:pt x="615949" y="48260"/>
                    <a:pt x="617854" y="53340"/>
                  </a:cubicBezTo>
                  <a:cubicBezTo>
                    <a:pt x="619124" y="57785"/>
                    <a:pt x="619759" y="62865"/>
                    <a:pt x="619759" y="68580"/>
                  </a:cubicBezTo>
                  <a:lnTo>
                    <a:pt x="618489" y="68580"/>
                  </a:lnTo>
                  <a:cubicBezTo>
                    <a:pt x="618489" y="68580"/>
                    <a:pt x="618489" y="71120"/>
                    <a:pt x="618489" y="72390"/>
                  </a:cubicBezTo>
                  <a:cubicBezTo>
                    <a:pt x="618489" y="73660"/>
                    <a:pt x="618489" y="74295"/>
                    <a:pt x="618489" y="75565"/>
                  </a:cubicBezTo>
                  <a:lnTo>
                    <a:pt x="567054" y="75565"/>
                  </a:lnTo>
                  <a:cubicBezTo>
                    <a:pt x="567054" y="79375"/>
                    <a:pt x="568324" y="82550"/>
                    <a:pt x="569594" y="85090"/>
                  </a:cubicBezTo>
                  <a:cubicBezTo>
                    <a:pt x="570864" y="87630"/>
                    <a:pt x="572134" y="90170"/>
                    <a:pt x="574039" y="91440"/>
                  </a:cubicBezTo>
                  <a:cubicBezTo>
                    <a:pt x="575944" y="93345"/>
                    <a:pt x="577849" y="94615"/>
                    <a:pt x="579754" y="95250"/>
                  </a:cubicBezTo>
                  <a:cubicBezTo>
                    <a:pt x="581659" y="95885"/>
                    <a:pt x="584199" y="96520"/>
                    <a:pt x="586739" y="96520"/>
                  </a:cubicBezTo>
                  <a:cubicBezTo>
                    <a:pt x="588644" y="96520"/>
                    <a:pt x="589914" y="96520"/>
                    <a:pt x="591819" y="96520"/>
                  </a:cubicBezTo>
                  <a:cubicBezTo>
                    <a:pt x="593089" y="96520"/>
                    <a:pt x="594994" y="95885"/>
                    <a:pt x="596264" y="95250"/>
                  </a:cubicBezTo>
                  <a:cubicBezTo>
                    <a:pt x="597534" y="95250"/>
                    <a:pt x="598804" y="93980"/>
                    <a:pt x="600074" y="93345"/>
                  </a:cubicBezTo>
                  <a:cubicBezTo>
                    <a:pt x="601344" y="93345"/>
                    <a:pt x="602614" y="92075"/>
                    <a:pt x="604519" y="90805"/>
                  </a:cubicBezTo>
                  <a:lnTo>
                    <a:pt x="613409" y="100330"/>
                  </a:lnTo>
                  <a:cubicBezTo>
                    <a:pt x="613409" y="100330"/>
                    <a:pt x="609599" y="103505"/>
                    <a:pt x="607694" y="104775"/>
                  </a:cubicBezTo>
                  <a:cubicBezTo>
                    <a:pt x="605789" y="106045"/>
                    <a:pt x="603884" y="106680"/>
                    <a:pt x="601979" y="107950"/>
                  </a:cubicBezTo>
                  <a:cubicBezTo>
                    <a:pt x="600074" y="108585"/>
                    <a:pt x="597534" y="109855"/>
                    <a:pt x="594994" y="109855"/>
                  </a:cubicBezTo>
                  <a:cubicBezTo>
                    <a:pt x="592454" y="109855"/>
                    <a:pt x="589279" y="110490"/>
                    <a:pt x="586104" y="110490"/>
                  </a:cubicBezTo>
                  <a:cubicBezTo>
                    <a:pt x="582929" y="110490"/>
                    <a:pt x="579754" y="110490"/>
                    <a:pt x="576579" y="109220"/>
                  </a:cubicBezTo>
                  <a:cubicBezTo>
                    <a:pt x="573404" y="108585"/>
                    <a:pt x="570864" y="107315"/>
                    <a:pt x="568959" y="105410"/>
                  </a:cubicBezTo>
                  <a:cubicBezTo>
                    <a:pt x="566419" y="104140"/>
                    <a:pt x="564514" y="102235"/>
                    <a:pt x="562609" y="100330"/>
                  </a:cubicBezTo>
                  <a:cubicBezTo>
                    <a:pt x="560704" y="98425"/>
                    <a:pt x="558799" y="95885"/>
                    <a:pt x="557529" y="92710"/>
                  </a:cubicBezTo>
                  <a:cubicBezTo>
                    <a:pt x="555624" y="89535"/>
                    <a:pt x="554354" y="86360"/>
                    <a:pt x="553719" y="82550"/>
                  </a:cubicBezTo>
                  <a:cubicBezTo>
                    <a:pt x="553084" y="78740"/>
                    <a:pt x="552449" y="74295"/>
                    <a:pt x="552449" y="69850"/>
                  </a:cubicBezTo>
                  <a:cubicBezTo>
                    <a:pt x="552449" y="63500"/>
                    <a:pt x="553084" y="57150"/>
                    <a:pt x="554989" y="52070"/>
                  </a:cubicBezTo>
                  <a:cubicBezTo>
                    <a:pt x="556894" y="46990"/>
                    <a:pt x="558799" y="42545"/>
                    <a:pt x="561974" y="39370"/>
                  </a:cubicBezTo>
                  <a:cubicBezTo>
                    <a:pt x="565149" y="36195"/>
                    <a:pt x="568324" y="33020"/>
                    <a:pt x="572769" y="31750"/>
                  </a:cubicBezTo>
                  <a:cubicBezTo>
                    <a:pt x="577214" y="29845"/>
                    <a:pt x="581659" y="29210"/>
                    <a:pt x="586739" y="29210"/>
                  </a:cubicBezTo>
                  <a:close/>
                  <a:moveTo>
                    <a:pt x="400050" y="29210"/>
                  </a:moveTo>
                  <a:cubicBezTo>
                    <a:pt x="405765" y="29210"/>
                    <a:pt x="410210" y="30480"/>
                    <a:pt x="414655" y="32385"/>
                  </a:cubicBezTo>
                  <a:cubicBezTo>
                    <a:pt x="418465" y="34290"/>
                    <a:pt x="422275" y="37465"/>
                    <a:pt x="424815" y="40640"/>
                  </a:cubicBezTo>
                  <a:cubicBezTo>
                    <a:pt x="427355" y="44450"/>
                    <a:pt x="429260" y="48260"/>
                    <a:pt x="431165" y="53340"/>
                  </a:cubicBezTo>
                  <a:cubicBezTo>
                    <a:pt x="432435" y="57785"/>
                    <a:pt x="433070" y="62865"/>
                    <a:pt x="433070" y="68580"/>
                  </a:cubicBezTo>
                  <a:lnTo>
                    <a:pt x="431800" y="68580"/>
                  </a:lnTo>
                  <a:cubicBezTo>
                    <a:pt x="431800" y="68580"/>
                    <a:pt x="431800" y="71120"/>
                    <a:pt x="431800" y="72390"/>
                  </a:cubicBezTo>
                  <a:cubicBezTo>
                    <a:pt x="431800" y="73660"/>
                    <a:pt x="431800" y="74295"/>
                    <a:pt x="431800" y="75565"/>
                  </a:cubicBezTo>
                  <a:lnTo>
                    <a:pt x="380365" y="75565"/>
                  </a:lnTo>
                  <a:cubicBezTo>
                    <a:pt x="380365" y="79375"/>
                    <a:pt x="381635" y="82550"/>
                    <a:pt x="382905" y="85090"/>
                  </a:cubicBezTo>
                  <a:cubicBezTo>
                    <a:pt x="384175" y="87630"/>
                    <a:pt x="385445" y="90170"/>
                    <a:pt x="387350" y="91440"/>
                  </a:cubicBezTo>
                  <a:cubicBezTo>
                    <a:pt x="389255" y="93345"/>
                    <a:pt x="391160" y="94615"/>
                    <a:pt x="393065" y="95250"/>
                  </a:cubicBezTo>
                  <a:cubicBezTo>
                    <a:pt x="394970" y="95885"/>
                    <a:pt x="397510" y="96520"/>
                    <a:pt x="400050" y="96520"/>
                  </a:cubicBezTo>
                  <a:cubicBezTo>
                    <a:pt x="401955" y="96520"/>
                    <a:pt x="403225" y="96520"/>
                    <a:pt x="405130" y="96520"/>
                  </a:cubicBezTo>
                  <a:cubicBezTo>
                    <a:pt x="406400" y="96520"/>
                    <a:pt x="408305" y="95885"/>
                    <a:pt x="409575" y="95250"/>
                  </a:cubicBezTo>
                  <a:cubicBezTo>
                    <a:pt x="410845" y="95250"/>
                    <a:pt x="412115" y="93980"/>
                    <a:pt x="413385" y="93345"/>
                  </a:cubicBezTo>
                  <a:cubicBezTo>
                    <a:pt x="414655" y="93345"/>
                    <a:pt x="415925" y="92075"/>
                    <a:pt x="417830" y="90805"/>
                  </a:cubicBezTo>
                  <a:lnTo>
                    <a:pt x="426720" y="100330"/>
                  </a:lnTo>
                  <a:cubicBezTo>
                    <a:pt x="426720" y="100330"/>
                    <a:pt x="422910" y="103505"/>
                    <a:pt x="421005" y="104775"/>
                  </a:cubicBezTo>
                  <a:cubicBezTo>
                    <a:pt x="419100" y="106045"/>
                    <a:pt x="417195" y="106680"/>
                    <a:pt x="415290" y="107950"/>
                  </a:cubicBezTo>
                  <a:cubicBezTo>
                    <a:pt x="413385" y="108585"/>
                    <a:pt x="410845" y="109855"/>
                    <a:pt x="408305" y="109855"/>
                  </a:cubicBezTo>
                  <a:cubicBezTo>
                    <a:pt x="405765" y="109855"/>
                    <a:pt x="402590" y="110490"/>
                    <a:pt x="399415" y="110490"/>
                  </a:cubicBezTo>
                  <a:cubicBezTo>
                    <a:pt x="396240" y="110490"/>
                    <a:pt x="393065" y="110490"/>
                    <a:pt x="389890" y="109220"/>
                  </a:cubicBezTo>
                  <a:cubicBezTo>
                    <a:pt x="386715" y="108585"/>
                    <a:pt x="384175" y="107315"/>
                    <a:pt x="382270" y="105410"/>
                  </a:cubicBezTo>
                  <a:cubicBezTo>
                    <a:pt x="380365" y="103505"/>
                    <a:pt x="377825" y="102235"/>
                    <a:pt x="375920" y="100330"/>
                  </a:cubicBezTo>
                  <a:cubicBezTo>
                    <a:pt x="374015" y="98425"/>
                    <a:pt x="372110" y="95885"/>
                    <a:pt x="370840" y="92710"/>
                  </a:cubicBezTo>
                  <a:cubicBezTo>
                    <a:pt x="368935" y="89535"/>
                    <a:pt x="367665" y="86360"/>
                    <a:pt x="367030" y="82550"/>
                  </a:cubicBezTo>
                  <a:cubicBezTo>
                    <a:pt x="366395" y="78740"/>
                    <a:pt x="365760" y="74295"/>
                    <a:pt x="365760" y="69850"/>
                  </a:cubicBezTo>
                  <a:cubicBezTo>
                    <a:pt x="365760" y="63500"/>
                    <a:pt x="366395" y="57150"/>
                    <a:pt x="368300" y="52070"/>
                  </a:cubicBezTo>
                  <a:cubicBezTo>
                    <a:pt x="370205" y="46990"/>
                    <a:pt x="372110" y="42545"/>
                    <a:pt x="375285" y="39370"/>
                  </a:cubicBezTo>
                  <a:cubicBezTo>
                    <a:pt x="378460" y="36195"/>
                    <a:pt x="381635" y="33020"/>
                    <a:pt x="386080" y="31750"/>
                  </a:cubicBezTo>
                  <a:cubicBezTo>
                    <a:pt x="390525" y="29845"/>
                    <a:pt x="394970" y="29210"/>
                    <a:pt x="400050" y="29210"/>
                  </a:cubicBezTo>
                  <a:close/>
                  <a:moveTo>
                    <a:pt x="201930" y="29210"/>
                  </a:moveTo>
                  <a:cubicBezTo>
                    <a:pt x="207645" y="29210"/>
                    <a:pt x="212090" y="30480"/>
                    <a:pt x="216535" y="32385"/>
                  </a:cubicBezTo>
                  <a:cubicBezTo>
                    <a:pt x="220345" y="34290"/>
                    <a:pt x="224155" y="37465"/>
                    <a:pt x="226695" y="40640"/>
                  </a:cubicBezTo>
                  <a:cubicBezTo>
                    <a:pt x="229235" y="44450"/>
                    <a:pt x="231140" y="48260"/>
                    <a:pt x="233045" y="53340"/>
                  </a:cubicBezTo>
                  <a:cubicBezTo>
                    <a:pt x="234315" y="57785"/>
                    <a:pt x="234950" y="62865"/>
                    <a:pt x="234950" y="68580"/>
                  </a:cubicBezTo>
                  <a:lnTo>
                    <a:pt x="233680" y="68580"/>
                  </a:lnTo>
                  <a:cubicBezTo>
                    <a:pt x="233680" y="68580"/>
                    <a:pt x="233680" y="71120"/>
                    <a:pt x="233680" y="72390"/>
                  </a:cubicBezTo>
                  <a:cubicBezTo>
                    <a:pt x="233680" y="73660"/>
                    <a:pt x="233680" y="74295"/>
                    <a:pt x="233680" y="75565"/>
                  </a:cubicBezTo>
                  <a:lnTo>
                    <a:pt x="182245" y="75565"/>
                  </a:lnTo>
                  <a:cubicBezTo>
                    <a:pt x="182245" y="79375"/>
                    <a:pt x="183515" y="82550"/>
                    <a:pt x="184785" y="85090"/>
                  </a:cubicBezTo>
                  <a:cubicBezTo>
                    <a:pt x="186055" y="87630"/>
                    <a:pt x="187325" y="90170"/>
                    <a:pt x="189230" y="91440"/>
                  </a:cubicBezTo>
                  <a:cubicBezTo>
                    <a:pt x="191135" y="93345"/>
                    <a:pt x="193040" y="94615"/>
                    <a:pt x="194945" y="95250"/>
                  </a:cubicBezTo>
                  <a:cubicBezTo>
                    <a:pt x="196850" y="95885"/>
                    <a:pt x="199390" y="96520"/>
                    <a:pt x="201930" y="96520"/>
                  </a:cubicBezTo>
                  <a:cubicBezTo>
                    <a:pt x="203835" y="96520"/>
                    <a:pt x="205105" y="96520"/>
                    <a:pt x="207010" y="96520"/>
                  </a:cubicBezTo>
                  <a:cubicBezTo>
                    <a:pt x="208280" y="96520"/>
                    <a:pt x="210185" y="95885"/>
                    <a:pt x="211455" y="95250"/>
                  </a:cubicBezTo>
                  <a:cubicBezTo>
                    <a:pt x="212725" y="95250"/>
                    <a:pt x="213995" y="93980"/>
                    <a:pt x="215265" y="93345"/>
                  </a:cubicBezTo>
                  <a:cubicBezTo>
                    <a:pt x="216535" y="93345"/>
                    <a:pt x="217805" y="92075"/>
                    <a:pt x="219710" y="90805"/>
                  </a:cubicBezTo>
                  <a:lnTo>
                    <a:pt x="228600" y="100330"/>
                  </a:lnTo>
                  <a:cubicBezTo>
                    <a:pt x="228600" y="100330"/>
                    <a:pt x="224790" y="103505"/>
                    <a:pt x="222885" y="104775"/>
                  </a:cubicBezTo>
                  <a:cubicBezTo>
                    <a:pt x="220980" y="106045"/>
                    <a:pt x="219075" y="106680"/>
                    <a:pt x="217170" y="107950"/>
                  </a:cubicBezTo>
                  <a:cubicBezTo>
                    <a:pt x="215265" y="108585"/>
                    <a:pt x="212725" y="109855"/>
                    <a:pt x="210185" y="109855"/>
                  </a:cubicBezTo>
                  <a:cubicBezTo>
                    <a:pt x="207645" y="109855"/>
                    <a:pt x="204470" y="110490"/>
                    <a:pt x="201295" y="110490"/>
                  </a:cubicBezTo>
                  <a:cubicBezTo>
                    <a:pt x="198120" y="110490"/>
                    <a:pt x="194945" y="110490"/>
                    <a:pt x="191770" y="109220"/>
                  </a:cubicBezTo>
                  <a:cubicBezTo>
                    <a:pt x="188595" y="108585"/>
                    <a:pt x="186055" y="107315"/>
                    <a:pt x="184150" y="105410"/>
                  </a:cubicBezTo>
                  <a:cubicBezTo>
                    <a:pt x="181610" y="104140"/>
                    <a:pt x="179705" y="102235"/>
                    <a:pt x="177800" y="100330"/>
                  </a:cubicBezTo>
                  <a:cubicBezTo>
                    <a:pt x="175895" y="98425"/>
                    <a:pt x="173990" y="95885"/>
                    <a:pt x="172720" y="92710"/>
                  </a:cubicBezTo>
                  <a:cubicBezTo>
                    <a:pt x="170815" y="89535"/>
                    <a:pt x="169545" y="86360"/>
                    <a:pt x="168910" y="82550"/>
                  </a:cubicBezTo>
                  <a:cubicBezTo>
                    <a:pt x="168275" y="78740"/>
                    <a:pt x="167640" y="74295"/>
                    <a:pt x="167640" y="69850"/>
                  </a:cubicBezTo>
                  <a:cubicBezTo>
                    <a:pt x="167640" y="63500"/>
                    <a:pt x="168275" y="57150"/>
                    <a:pt x="170180" y="52070"/>
                  </a:cubicBezTo>
                  <a:cubicBezTo>
                    <a:pt x="172085" y="46990"/>
                    <a:pt x="173990" y="42545"/>
                    <a:pt x="177165" y="39370"/>
                  </a:cubicBezTo>
                  <a:cubicBezTo>
                    <a:pt x="180340" y="36195"/>
                    <a:pt x="183515" y="33020"/>
                    <a:pt x="187960" y="31750"/>
                  </a:cubicBezTo>
                  <a:cubicBezTo>
                    <a:pt x="192405" y="29845"/>
                    <a:pt x="196850" y="29210"/>
                    <a:pt x="201930" y="29210"/>
                  </a:cubicBezTo>
                  <a:close/>
                  <a:moveTo>
                    <a:pt x="4664706" y="28574"/>
                  </a:moveTo>
                  <a:cubicBezTo>
                    <a:pt x="4669786" y="28574"/>
                    <a:pt x="4674231" y="29209"/>
                    <a:pt x="4678676" y="31749"/>
                  </a:cubicBezTo>
                  <a:cubicBezTo>
                    <a:pt x="4683121" y="33654"/>
                    <a:pt x="4686296" y="36194"/>
                    <a:pt x="4689471" y="40004"/>
                  </a:cubicBezTo>
                  <a:cubicBezTo>
                    <a:pt x="4692646" y="43814"/>
                    <a:pt x="4695186" y="47624"/>
                    <a:pt x="4696456" y="52704"/>
                  </a:cubicBezTo>
                  <a:cubicBezTo>
                    <a:pt x="4698361" y="57784"/>
                    <a:pt x="4698996" y="63499"/>
                    <a:pt x="4698996" y="69214"/>
                  </a:cubicBezTo>
                  <a:lnTo>
                    <a:pt x="4699631" y="69214"/>
                  </a:lnTo>
                  <a:cubicBezTo>
                    <a:pt x="4699631" y="75564"/>
                    <a:pt x="4698996" y="81279"/>
                    <a:pt x="4697091" y="86359"/>
                  </a:cubicBezTo>
                  <a:cubicBezTo>
                    <a:pt x="4695186" y="91439"/>
                    <a:pt x="4692646" y="95884"/>
                    <a:pt x="4689471" y="99059"/>
                  </a:cubicBezTo>
                  <a:cubicBezTo>
                    <a:pt x="4686296" y="102869"/>
                    <a:pt x="4682486" y="105409"/>
                    <a:pt x="4678041" y="107314"/>
                  </a:cubicBezTo>
                  <a:cubicBezTo>
                    <a:pt x="4673596" y="109219"/>
                    <a:pt x="4669151" y="109854"/>
                    <a:pt x="4664071" y="109854"/>
                  </a:cubicBezTo>
                  <a:cubicBezTo>
                    <a:pt x="4658991" y="109854"/>
                    <a:pt x="4654546" y="108584"/>
                    <a:pt x="4650101" y="106679"/>
                  </a:cubicBezTo>
                  <a:cubicBezTo>
                    <a:pt x="4645656" y="104774"/>
                    <a:pt x="4642481" y="102234"/>
                    <a:pt x="4639306" y="98424"/>
                  </a:cubicBezTo>
                  <a:cubicBezTo>
                    <a:pt x="4636131" y="94614"/>
                    <a:pt x="4633591" y="90804"/>
                    <a:pt x="4632321" y="85724"/>
                  </a:cubicBezTo>
                  <a:cubicBezTo>
                    <a:pt x="4630416" y="80644"/>
                    <a:pt x="4629781" y="74929"/>
                    <a:pt x="4629781" y="69214"/>
                  </a:cubicBezTo>
                  <a:cubicBezTo>
                    <a:pt x="4629781" y="63499"/>
                    <a:pt x="4630416" y="57149"/>
                    <a:pt x="4632321" y="52069"/>
                  </a:cubicBezTo>
                  <a:cubicBezTo>
                    <a:pt x="4634226" y="46989"/>
                    <a:pt x="4636766" y="42544"/>
                    <a:pt x="4639941" y="39369"/>
                  </a:cubicBezTo>
                  <a:cubicBezTo>
                    <a:pt x="4643116" y="35559"/>
                    <a:pt x="4646926" y="33019"/>
                    <a:pt x="4650736" y="31114"/>
                  </a:cubicBezTo>
                  <a:cubicBezTo>
                    <a:pt x="4655181" y="29209"/>
                    <a:pt x="4659626" y="28574"/>
                    <a:pt x="4664706" y="28574"/>
                  </a:cubicBezTo>
                  <a:close/>
                  <a:moveTo>
                    <a:pt x="4264655" y="28574"/>
                  </a:moveTo>
                  <a:cubicBezTo>
                    <a:pt x="4269735" y="28574"/>
                    <a:pt x="4274180" y="29209"/>
                    <a:pt x="4278625" y="31749"/>
                  </a:cubicBezTo>
                  <a:cubicBezTo>
                    <a:pt x="4283070" y="33654"/>
                    <a:pt x="4286245" y="36194"/>
                    <a:pt x="4289420" y="40004"/>
                  </a:cubicBezTo>
                  <a:cubicBezTo>
                    <a:pt x="4292595" y="43814"/>
                    <a:pt x="4295135" y="47624"/>
                    <a:pt x="4296405" y="52704"/>
                  </a:cubicBezTo>
                  <a:cubicBezTo>
                    <a:pt x="4298310" y="57784"/>
                    <a:pt x="4298945" y="63499"/>
                    <a:pt x="4298945" y="69214"/>
                  </a:cubicBezTo>
                  <a:lnTo>
                    <a:pt x="4299580" y="69214"/>
                  </a:lnTo>
                  <a:cubicBezTo>
                    <a:pt x="4299580" y="75564"/>
                    <a:pt x="4298945" y="81279"/>
                    <a:pt x="4297040" y="86359"/>
                  </a:cubicBezTo>
                  <a:cubicBezTo>
                    <a:pt x="4295135" y="91439"/>
                    <a:pt x="4292595" y="95884"/>
                    <a:pt x="4289420" y="99059"/>
                  </a:cubicBezTo>
                  <a:cubicBezTo>
                    <a:pt x="4286245" y="102869"/>
                    <a:pt x="4282435" y="105409"/>
                    <a:pt x="4277990" y="107314"/>
                  </a:cubicBezTo>
                  <a:cubicBezTo>
                    <a:pt x="4273545" y="109219"/>
                    <a:pt x="4269100" y="109854"/>
                    <a:pt x="4264020" y="109854"/>
                  </a:cubicBezTo>
                  <a:cubicBezTo>
                    <a:pt x="4258940" y="109854"/>
                    <a:pt x="4254495" y="108584"/>
                    <a:pt x="4250050" y="106679"/>
                  </a:cubicBezTo>
                  <a:cubicBezTo>
                    <a:pt x="4245605" y="104774"/>
                    <a:pt x="4242430" y="102234"/>
                    <a:pt x="4239255" y="98424"/>
                  </a:cubicBezTo>
                  <a:cubicBezTo>
                    <a:pt x="4236080" y="94614"/>
                    <a:pt x="4233540" y="90804"/>
                    <a:pt x="4232270" y="85724"/>
                  </a:cubicBezTo>
                  <a:cubicBezTo>
                    <a:pt x="4230365" y="80644"/>
                    <a:pt x="4229730" y="74929"/>
                    <a:pt x="4229730" y="69214"/>
                  </a:cubicBezTo>
                  <a:cubicBezTo>
                    <a:pt x="4229730" y="63499"/>
                    <a:pt x="4230365" y="57149"/>
                    <a:pt x="4232270" y="52069"/>
                  </a:cubicBezTo>
                  <a:cubicBezTo>
                    <a:pt x="4234175" y="46989"/>
                    <a:pt x="4236715" y="42544"/>
                    <a:pt x="4239890" y="39369"/>
                  </a:cubicBezTo>
                  <a:cubicBezTo>
                    <a:pt x="4243065" y="35559"/>
                    <a:pt x="4246875" y="33019"/>
                    <a:pt x="4250685" y="31114"/>
                  </a:cubicBezTo>
                  <a:cubicBezTo>
                    <a:pt x="4255130" y="29209"/>
                    <a:pt x="4259575" y="28574"/>
                    <a:pt x="4264655" y="28574"/>
                  </a:cubicBezTo>
                  <a:close/>
                  <a:moveTo>
                    <a:pt x="1420495" y="28574"/>
                  </a:moveTo>
                  <a:cubicBezTo>
                    <a:pt x="1425575" y="28574"/>
                    <a:pt x="1430020" y="29209"/>
                    <a:pt x="1434465" y="31749"/>
                  </a:cubicBezTo>
                  <a:cubicBezTo>
                    <a:pt x="1438910" y="33654"/>
                    <a:pt x="1442085" y="36194"/>
                    <a:pt x="1445260" y="40004"/>
                  </a:cubicBezTo>
                  <a:cubicBezTo>
                    <a:pt x="1448435" y="43814"/>
                    <a:pt x="1450975" y="47624"/>
                    <a:pt x="1452245" y="52704"/>
                  </a:cubicBezTo>
                  <a:cubicBezTo>
                    <a:pt x="1454150" y="57784"/>
                    <a:pt x="1454785" y="63499"/>
                    <a:pt x="1454785" y="69214"/>
                  </a:cubicBezTo>
                  <a:lnTo>
                    <a:pt x="1455420" y="69214"/>
                  </a:lnTo>
                  <a:cubicBezTo>
                    <a:pt x="1455420" y="75564"/>
                    <a:pt x="1454785" y="81279"/>
                    <a:pt x="1452880" y="86359"/>
                  </a:cubicBezTo>
                  <a:cubicBezTo>
                    <a:pt x="1450975" y="91439"/>
                    <a:pt x="1448435" y="95884"/>
                    <a:pt x="1445260" y="99059"/>
                  </a:cubicBezTo>
                  <a:cubicBezTo>
                    <a:pt x="1442085" y="102869"/>
                    <a:pt x="1438275" y="105409"/>
                    <a:pt x="1433830" y="107314"/>
                  </a:cubicBezTo>
                  <a:cubicBezTo>
                    <a:pt x="1429385" y="109219"/>
                    <a:pt x="1424940" y="109854"/>
                    <a:pt x="1419860" y="109854"/>
                  </a:cubicBezTo>
                  <a:cubicBezTo>
                    <a:pt x="1414780" y="109854"/>
                    <a:pt x="1410335" y="108584"/>
                    <a:pt x="1405890" y="106679"/>
                  </a:cubicBezTo>
                  <a:cubicBezTo>
                    <a:pt x="1401444" y="104774"/>
                    <a:pt x="1398270" y="102234"/>
                    <a:pt x="1395095" y="98424"/>
                  </a:cubicBezTo>
                  <a:cubicBezTo>
                    <a:pt x="1391920" y="94614"/>
                    <a:pt x="1389380" y="90804"/>
                    <a:pt x="1388110" y="85724"/>
                  </a:cubicBezTo>
                  <a:cubicBezTo>
                    <a:pt x="1386205" y="80644"/>
                    <a:pt x="1385570" y="74929"/>
                    <a:pt x="1385570" y="69214"/>
                  </a:cubicBezTo>
                  <a:cubicBezTo>
                    <a:pt x="1385570" y="63499"/>
                    <a:pt x="1386205" y="57149"/>
                    <a:pt x="1388110" y="52069"/>
                  </a:cubicBezTo>
                  <a:cubicBezTo>
                    <a:pt x="1390015" y="46989"/>
                    <a:pt x="1392555" y="42544"/>
                    <a:pt x="1395730" y="39369"/>
                  </a:cubicBezTo>
                  <a:cubicBezTo>
                    <a:pt x="1398905" y="35559"/>
                    <a:pt x="1402715" y="33019"/>
                    <a:pt x="1406525" y="31114"/>
                  </a:cubicBezTo>
                  <a:cubicBezTo>
                    <a:pt x="1410970" y="29209"/>
                    <a:pt x="1415415" y="28574"/>
                    <a:pt x="1420495" y="28574"/>
                  </a:cubicBezTo>
                  <a:close/>
                  <a:moveTo>
                    <a:pt x="3143245" y="5079"/>
                  </a:moveTo>
                  <a:lnTo>
                    <a:pt x="3219445" y="5079"/>
                  </a:lnTo>
                  <a:lnTo>
                    <a:pt x="3219445" y="20319"/>
                  </a:lnTo>
                  <a:lnTo>
                    <a:pt x="3188965" y="20319"/>
                  </a:lnTo>
                  <a:lnTo>
                    <a:pt x="3188965" y="108584"/>
                  </a:lnTo>
                  <a:lnTo>
                    <a:pt x="3173090" y="108584"/>
                  </a:lnTo>
                  <a:lnTo>
                    <a:pt x="3173090" y="20319"/>
                  </a:lnTo>
                  <a:lnTo>
                    <a:pt x="3143245" y="20319"/>
                  </a:lnTo>
                  <a:close/>
                  <a:moveTo>
                    <a:pt x="1628774" y="5079"/>
                  </a:moveTo>
                  <a:lnTo>
                    <a:pt x="1704970" y="5079"/>
                  </a:lnTo>
                  <a:lnTo>
                    <a:pt x="1704970" y="20319"/>
                  </a:lnTo>
                  <a:lnTo>
                    <a:pt x="1675129" y="20319"/>
                  </a:lnTo>
                  <a:lnTo>
                    <a:pt x="1675129" y="108584"/>
                  </a:lnTo>
                  <a:lnTo>
                    <a:pt x="1659255" y="108584"/>
                  </a:lnTo>
                  <a:lnTo>
                    <a:pt x="1659255" y="20319"/>
                  </a:lnTo>
                  <a:lnTo>
                    <a:pt x="1628774" y="20319"/>
                  </a:lnTo>
                  <a:close/>
                  <a:moveTo>
                    <a:pt x="0" y="5079"/>
                  </a:moveTo>
                  <a:lnTo>
                    <a:pt x="76200" y="5079"/>
                  </a:lnTo>
                  <a:lnTo>
                    <a:pt x="76200" y="20319"/>
                  </a:lnTo>
                  <a:lnTo>
                    <a:pt x="45720" y="20319"/>
                  </a:lnTo>
                  <a:lnTo>
                    <a:pt x="45720" y="108584"/>
                  </a:lnTo>
                  <a:lnTo>
                    <a:pt x="29845" y="108584"/>
                  </a:lnTo>
                  <a:lnTo>
                    <a:pt x="29845" y="20319"/>
                  </a:lnTo>
                  <a:lnTo>
                    <a:pt x="0" y="20319"/>
                  </a:lnTo>
                  <a:close/>
                  <a:moveTo>
                    <a:pt x="1362075" y="1269"/>
                  </a:moveTo>
                  <a:cubicBezTo>
                    <a:pt x="1363345" y="1269"/>
                    <a:pt x="1364615" y="1269"/>
                    <a:pt x="1365885" y="1904"/>
                  </a:cubicBezTo>
                  <a:cubicBezTo>
                    <a:pt x="1367155" y="1904"/>
                    <a:pt x="1367790" y="3174"/>
                    <a:pt x="1369060" y="3809"/>
                  </a:cubicBezTo>
                  <a:cubicBezTo>
                    <a:pt x="1369695" y="4444"/>
                    <a:pt x="1370965" y="5714"/>
                    <a:pt x="1370965" y="6984"/>
                  </a:cubicBezTo>
                  <a:cubicBezTo>
                    <a:pt x="1370965" y="8254"/>
                    <a:pt x="1371600" y="9524"/>
                    <a:pt x="1371600" y="10794"/>
                  </a:cubicBezTo>
                  <a:cubicBezTo>
                    <a:pt x="1371600" y="10794"/>
                    <a:pt x="1371600" y="13334"/>
                    <a:pt x="1370965" y="14604"/>
                  </a:cubicBezTo>
                  <a:cubicBezTo>
                    <a:pt x="1370965" y="15874"/>
                    <a:pt x="1369695" y="17144"/>
                    <a:pt x="1369060" y="17779"/>
                  </a:cubicBezTo>
                  <a:cubicBezTo>
                    <a:pt x="1368425" y="18414"/>
                    <a:pt x="1367155" y="19684"/>
                    <a:pt x="1365885" y="19684"/>
                  </a:cubicBezTo>
                  <a:cubicBezTo>
                    <a:pt x="1364615" y="19684"/>
                    <a:pt x="1363345" y="20319"/>
                    <a:pt x="1362075" y="20319"/>
                  </a:cubicBezTo>
                  <a:cubicBezTo>
                    <a:pt x="1360805" y="20319"/>
                    <a:pt x="1359535" y="20319"/>
                    <a:pt x="1358265" y="19684"/>
                  </a:cubicBezTo>
                  <a:cubicBezTo>
                    <a:pt x="1356995" y="19684"/>
                    <a:pt x="1355725" y="18414"/>
                    <a:pt x="1355090" y="17779"/>
                  </a:cubicBezTo>
                  <a:cubicBezTo>
                    <a:pt x="1354455" y="17144"/>
                    <a:pt x="1353185" y="15874"/>
                    <a:pt x="1353185" y="14604"/>
                  </a:cubicBezTo>
                  <a:cubicBezTo>
                    <a:pt x="1353185" y="13334"/>
                    <a:pt x="1352550" y="12064"/>
                    <a:pt x="1352550" y="10794"/>
                  </a:cubicBezTo>
                  <a:cubicBezTo>
                    <a:pt x="1352550" y="9524"/>
                    <a:pt x="1352550" y="8254"/>
                    <a:pt x="1353185" y="6984"/>
                  </a:cubicBezTo>
                  <a:cubicBezTo>
                    <a:pt x="1353185" y="5714"/>
                    <a:pt x="1354455" y="4444"/>
                    <a:pt x="1355090" y="3809"/>
                  </a:cubicBezTo>
                  <a:cubicBezTo>
                    <a:pt x="1355725" y="3174"/>
                    <a:pt x="1356995" y="1904"/>
                    <a:pt x="1358265" y="1904"/>
                  </a:cubicBezTo>
                  <a:cubicBezTo>
                    <a:pt x="1359535" y="1904"/>
                    <a:pt x="1360805" y="1269"/>
                    <a:pt x="1362075" y="1269"/>
                  </a:cubicBezTo>
                  <a:close/>
                  <a:moveTo>
                    <a:pt x="4789801" y="634"/>
                  </a:moveTo>
                  <a:lnTo>
                    <a:pt x="4789801" y="65404"/>
                  </a:lnTo>
                  <a:lnTo>
                    <a:pt x="4814566" y="31114"/>
                  </a:lnTo>
                  <a:lnTo>
                    <a:pt x="4831711" y="31114"/>
                  </a:lnTo>
                  <a:lnTo>
                    <a:pt x="4812026" y="57149"/>
                  </a:lnTo>
                  <a:lnTo>
                    <a:pt x="4835521" y="108584"/>
                  </a:lnTo>
                  <a:lnTo>
                    <a:pt x="4819011" y="108584"/>
                  </a:lnTo>
                  <a:lnTo>
                    <a:pt x="4801866" y="69849"/>
                  </a:lnTo>
                  <a:lnTo>
                    <a:pt x="4789801" y="85724"/>
                  </a:lnTo>
                  <a:lnTo>
                    <a:pt x="4789801" y="108584"/>
                  </a:lnTo>
                  <a:lnTo>
                    <a:pt x="4774561" y="108584"/>
                  </a:lnTo>
                  <a:lnTo>
                    <a:pt x="4774561" y="8889"/>
                  </a:lnTo>
                  <a:close/>
                  <a:moveTo>
                    <a:pt x="4472301" y="634"/>
                  </a:moveTo>
                  <a:lnTo>
                    <a:pt x="4472301" y="109219"/>
                  </a:lnTo>
                  <a:lnTo>
                    <a:pt x="4457061" y="109219"/>
                  </a:lnTo>
                  <a:lnTo>
                    <a:pt x="4457696" y="108584"/>
                  </a:lnTo>
                  <a:lnTo>
                    <a:pt x="4457696" y="100964"/>
                  </a:lnTo>
                  <a:cubicBezTo>
                    <a:pt x="4457696" y="100964"/>
                    <a:pt x="4454521" y="103504"/>
                    <a:pt x="4453251" y="104774"/>
                  </a:cubicBezTo>
                  <a:cubicBezTo>
                    <a:pt x="4451981" y="106044"/>
                    <a:pt x="4450076" y="106679"/>
                    <a:pt x="4448171" y="107949"/>
                  </a:cubicBezTo>
                  <a:cubicBezTo>
                    <a:pt x="4446266" y="108584"/>
                    <a:pt x="4444361" y="109219"/>
                    <a:pt x="4443091" y="109854"/>
                  </a:cubicBezTo>
                  <a:cubicBezTo>
                    <a:pt x="4441186" y="109854"/>
                    <a:pt x="4439281" y="109854"/>
                    <a:pt x="4437376" y="109854"/>
                  </a:cubicBezTo>
                  <a:cubicBezTo>
                    <a:pt x="4432931" y="109854"/>
                    <a:pt x="4429121" y="109219"/>
                    <a:pt x="4425946" y="107314"/>
                  </a:cubicBezTo>
                  <a:cubicBezTo>
                    <a:pt x="4422136" y="106044"/>
                    <a:pt x="4418961" y="103504"/>
                    <a:pt x="4416421" y="99694"/>
                  </a:cubicBezTo>
                  <a:cubicBezTo>
                    <a:pt x="4413881" y="96519"/>
                    <a:pt x="4411341" y="92074"/>
                    <a:pt x="4410071" y="86994"/>
                  </a:cubicBezTo>
                  <a:cubicBezTo>
                    <a:pt x="4408801" y="81914"/>
                    <a:pt x="4407531" y="75564"/>
                    <a:pt x="4407531" y="67944"/>
                  </a:cubicBezTo>
                  <a:cubicBezTo>
                    <a:pt x="4407531" y="61594"/>
                    <a:pt x="4408166" y="55244"/>
                    <a:pt x="4410071" y="50799"/>
                  </a:cubicBezTo>
                  <a:cubicBezTo>
                    <a:pt x="4411976" y="45719"/>
                    <a:pt x="4413881" y="41909"/>
                    <a:pt x="4417056" y="38734"/>
                  </a:cubicBezTo>
                  <a:cubicBezTo>
                    <a:pt x="4419596" y="35559"/>
                    <a:pt x="4423406" y="33019"/>
                    <a:pt x="4426581" y="31749"/>
                  </a:cubicBezTo>
                  <a:cubicBezTo>
                    <a:pt x="4430391" y="29844"/>
                    <a:pt x="4434201" y="29209"/>
                    <a:pt x="4438011" y="29209"/>
                  </a:cubicBezTo>
                  <a:cubicBezTo>
                    <a:pt x="4439916" y="29209"/>
                    <a:pt x="4441821" y="29209"/>
                    <a:pt x="4443726" y="29844"/>
                  </a:cubicBezTo>
                  <a:cubicBezTo>
                    <a:pt x="4445631" y="29844"/>
                    <a:pt x="4447536" y="31114"/>
                    <a:pt x="4448806" y="31749"/>
                  </a:cubicBezTo>
                  <a:cubicBezTo>
                    <a:pt x="4450711" y="32384"/>
                    <a:pt x="4451981" y="33654"/>
                    <a:pt x="4453251" y="34924"/>
                  </a:cubicBezTo>
                  <a:cubicBezTo>
                    <a:pt x="4454521" y="36194"/>
                    <a:pt x="4455791" y="36829"/>
                    <a:pt x="4457061" y="38099"/>
                  </a:cubicBezTo>
                  <a:lnTo>
                    <a:pt x="4457061" y="8254"/>
                  </a:lnTo>
                  <a:close/>
                  <a:moveTo>
                    <a:pt x="4390385" y="634"/>
                  </a:moveTo>
                  <a:lnTo>
                    <a:pt x="4390385" y="108584"/>
                  </a:lnTo>
                  <a:lnTo>
                    <a:pt x="4375145" y="108584"/>
                  </a:lnTo>
                  <a:lnTo>
                    <a:pt x="4375145" y="8889"/>
                  </a:lnTo>
                  <a:close/>
                  <a:moveTo>
                    <a:pt x="3946521" y="634"/>
                  </a:moveTo>
                  <a:lnTo>
                    <a:pt x="3946521" y="38099"/>
                  </a:lnTo>
                  <a:cubicBezTo>
                    <a:pt x="3946521" y="38099"/>
                    <a:pt x="3948426" y="35559"/>
                    <a:pt x="3950331" y="34289"/>
                  </a:cubicBezTo>
                  <a:cubicBezTo>
                    <a:pt x="3951601" y="33019"/>
                    <a:pt x="3953506" y="32384"/>
                    <a:pt x="3954776" y="31114"/>
                  </a:cubicBezTo>
                  <a:cubicBezTo>
                    <a:pt x="3956681" y="30479"/>
                    <a:pt x="3958586" y="29844"/>
                    <a:pt x="3960491" y="29209"/>
                  </a:cubicBezTo>
                  <a:cubicBezTo>
                    <a:pt x="3962396" y="29209"/>
                    <a:pt x="3964301" y="29209"/>
                    <a:pt x="3966206" y="29209"/>
                  </a:cubicBezTo>
                  <a:cubicBezTo>
                    <a:pt x="3970651" y="29209"/>
                    <a:pt x="3975096" y="29844"/>
                    <a:pt x="3978271" y="31749"/>
                  </a:cubicBezTo>
                  <a:cubicBezTo>
                    <a:pt x="3981446" y="33019"/>
                    <a:pt x="3984621" y="35559"/>
                    <a:pt x="3987161" y="38099"/>
                  </a:cubicBezTo>
                  <a:cubicBezTo>
                    <a:pt x="3989701" y="41274"/>
                    <a:pt x="3990971" y="44449"/>
                    <a:pt x="3992241" y="49529"/>
                  </a:cubicBezTo>
                  <a:cubicBezTo>
                    <a:pt x="3993511" y="53974"/>
                    <a:pt x="3994146" y="59054"/>
                    <a:pt x="3994146" y="64134"/>
                  </a:cubicBezTo>
                  <a:lnTo>
                    <a:pt x="3994146" y="108584"/>
                  </a:lnTo>
                  <a:lnTo>
                    <a:pt x="3978906" y="108584"/>
                  </a:lnTo>
                  <a:lnTo>
                    <a:pt x="3978271" y="108584"/>
                  </a:lnTo>
                  <a:lnTo>
                    <a:pt x="3978271" y="64769"/>
                  </a:lnTo>
                  <a:cubicBezTo>
                    <a:pt x="3978271" y="57784"/>
                    <a:pt x="3977001" y="52069"/>
                    <a:pt x="3974461" y="48894"/>
                  </a:cubicBezTo>
                  <a:cubicBezTo>
                    <a:pt x="3971921" y="45084"/>
                    <a:pt x="3968111" y="43814"/>
                    <a:pt x="3962396" y="43814"/>
                  </a:cubicBezTo>
                  <a:cubicBezTo>
                    <a:pt x="3959856" y="43814"/>
                    <a:pt x="3957951" y="43814"/>
                    <a:pt x="3956046" y="45084"/>
                  </a:cubicBezTo>
                  <a:cubicBezTo>
                    <a:pt x="3954141" y="45719"/>
                    <a:pt x="3952236" y="46989"/>
                    <a:pt x="3950966" y="48894"/>
                  </a:cubicBezTo>
                  <a:cubicBezTo>
                    <a:pt x="3949696" y="50799"/>
                    <a:pt x="3948426" y="52704"/>
                    <a:pt x="3947791" y="55244"/>
                  </a:cubicBezTo>
                  <a:cubicBezTo>
                    <a:pt x="3947156" y="57784"/>
                    <a:pt x="3946521" y="60324"/>
                    <a:pt x="3946521" y="63499"/>
                  </a:cubicBezTo>
                  <a:lnTo>
                    <a:pt x="3946521" y="109219"/>
                  </a:lnTo>
                  <a:lnTo>
                    <a:pt x="3931281" y="109219"/>
                  </a:lnTo>
                  <a:lnTo>
                    <a:pt x="3931281" y="8889"/>
                  </a:lnTo>
                  <a:close/>
                  <a:moveTo>
                    <a:pt x="3248021" y="634"/>
                  </a:moveTo>
                  <a:lnTo>
                    <a:pt x="3248021" y="38099"/>
                  </a:lnTo>
                  <a:cubicBezTo>
                    <a:pt x="3248021" y="38099"/>
                    <a:pt x="3249926" y="35559"/>
                    <a:pt x="3251831" y="34289"/>
                  </a:cubicBezTo>
                  <a:cubicBezTo>
                    <a:pt x="3253101" y="33019"/>
                    <a:pt x="3255006" y="32384"/>
                    <a:pt x="3256276" y="31114"/>
                  </a:cubicBezTo>
                  <a:cubicBezTo>
                    <a:pt x="3258181" y="30479"/>
                    <a:pt x="3260086" y="29844"/>
                    <a:pt x="3261991" y="29209"/>
                  </a:cubicBezTo>
                  <a:cubicBezTo>
                    <a:pt x="3263896" y="29209"/>
                    <a:pt x="3265801" y="29209"/>
                    <a:pt x="3267706" y="29209"/>
                  </a:cubicBezTo>
                  <a:cubicBezTo>
                    <a:pt x="3272151" y="29209"/>
                    <a:pt x="3276596" y="29844"/>
                    <a:pt x="3279771" y="31749"/>
                  </a:cubicBezTo>
                  <a:cubicBezTo>
                    <a:pt x="3282946" y="33019"/>
                    <a:pt x="3286121" y="35559"/>
                    <a:pt x="3288661" y="38099"/>
                  </a:cubicBezTo>
                  <a:cubicBezTo>
                    <a:pt x="3291201" y="41274"/>
                    <a:pt x="3292471" y="44449"/>
                    <a:pt x="3293741" y="49529"/>
                  </a:cubicBezTo>
                  <a:cubicBezTo>
                    <a:pt x="3295011" y="53974"/>
                    <a:pt x="3295646" y="59054"/>
                    <a:pt x="3295646" y="64134"/>
                  </a:cubicBezTo>
                  <a:lnTo>
                    <a:pt x="3295646" y="108584"/>
                  </a:lnTo>
                  <a:lnTo>
                    <a:pt x="3280406" y="108584"/>
                  </a:lnTo>
                  <a:lnTo>
                    <a:pt x="3279771" y="108584"/>
                  </a:lnTo>
                  <a:lnTo>
                    <a:pt x="3279771" y="64769"/>
                  </a:lnTo>
                  <a:cubicBezTo>
                    <a:pt x="3279771" y="57784"/>
                    <a:pt x="3278501" y="52069"/>
                    <a:pt x="3275961" y="48894"/>
                  </a:cubicBezTo>
                  <a:cubicBezTo>
                    <a:pt x="3273421" y="45084"/>
                    <a:pt x="3269611" y="43814"/>
                    <a:pt x="3263896" y="43814"/>
                  </a:cubicBezTo>
                  <a:cubicBezTo>
                    <a:pt x="3261356" y="43814"/>
                    <a:pt x="3259451" y="43814"/>
                    <a:pt x="3257546" y="45084"/>
                  </a:cubicBezTo>
                  <a:cubicBezTo>
                    <a:pt x="3255641" y="45719"/>
                    <a:pt x="3253736" y="46989"/>
                    <a:pt x="3252466" y="48894"/>
                  </a:cubicBezTo>
                  <a:cubicBezTo>
                    <a:pt x="3251196" y="50799"/>
                    <a:pt x="3249926" y="52704"/>
                    <a:pt x="3249291" y="55244"/>
                  </a:cubicBezTo>
                  <a:cubicBezTo>
                    <a:pt x="3248656" y="57784"/>
                    <a:pt x="3248021" y="60324"/>
                    <a:pt x="3248021" y="63499"/>
                  </a:cubicBezTo>
                  <a:lnTo>
                    <a:pt x="3248021" y="109219"/>
                  </a:lnTo>
                  <a:lnTo>
                    <a:pt x="3232781" y="109219"/>
                  </a:lnTo>
                  <a:lnTo>
                    <a:pt x="3232781" y="8889"/>
                  </a:lnTo>
                  <a:close/>
                  <a:moveTo>
                    <a:pt x="2432681" y="634"/>
                  </a:moveTo>
                  <a:lnTo>
                    <a:pt x="2432681" y="38099"/>
                  </a:lnTo>
                  <a:cubicBezTo>
                    <a:pt x="2432681" y="38099"/>
                    <a:pt x="2434586" y="35559"/>
                    <a:pt x="2436491" y="34289"/>
                  </a:cubicBezTo>
                  <a:cubicBezTo>
                    <a:pt x="2437761" y="33019"/>
                    <a:pt x="2439666" y="32384"/>
                    <a:pt x="2440936" y="31114"/>
                  </a:cubicBezTo>
                  <a:cubicBezTo>
                    <a:pt x="2442841" y="30479"/>
                    <a:pt x="2444746" y="29844"/>
                    <a:pt x="2446651" y="29209"/>
                  </a:cubicBezTo>
                  <a:cubicBezTo>
                    <a:pt x="2448556" y="29209"/>
                    <a:pt x="2450461" y="29209"/>
                    <a:pt x="2452366" y="29209"/>
                  </a:cubicBezTo>
                  <a:cubicBezTo>
                    <a:pt x="2456811" y="29209"/>
                    <a:pt x="2461256" y="29844"/>
                    <a:pt x="2464431" y="31749"/>
                  </a:cubicBezTo>
                  <a:cubicBezTo>
                    <a:pt x="2467606" y="33019"/>
                    <a:pt x="2470781" y="35559"/>
                    <a:pt x="2473321" y="38099"/>
                  </a:cubicBezTo>
                  <a:cubicBezTo>
                    <a:pt x="2475861" y="41274"/>
                    <a:pt x="2477131" y="44449"/>
                    <a:pt x="2478401" y="49529"/>
                  </a:cubicBezTo>
                  <a:cubicBezTo>
                    <a:pt x="2479671" y="53974"/>
                    <a:pt x="2480306" y="59054"/>
                    <a:pt x="2480306" y="64134"/>
                  </a:cubicBezTo>
                  <a:lnTo>
                    <a:pt x="2480306" y="108584"/>
                  </a:lnTo>
                  <a:lnTo>
                    <a:pt x="2465066" y="108584"/>
                  </a:lnTo>
                  <a:lnTo>
                    <a:pt x="2464431" y="108584"/>
                  </a:lnTo>
                  <a:lnTo>
                    <a:pt x="2464431" y="64769"/>
                  </a:lnTo>
                  <a:cubicBezTo>
                    <a:pt x="2464431" y="57784"/>
                    <a:pt x="2463161" y="52069"/>
                    <a:pt x="2460621" y="48894"/>
                  </a:cubicBezTo>
                  <a:cubicBezTo>
                    <a:pt x="2458081" y="45084"/>
                    <a:pt x="2454271" y="43814"/>
                    <a:pt x="2448556" y="43814"/>
                  </a:cubicBezTo>
                  <a:cubicBezTo>
                    <a:pt x="2446016" y="43814"/>
                    <a:pt x="2444111" y="43814"/>
                    <a:pt x="2442206" y="45084"/>
                  </a:cubicBezTo>
                  <a:cubicBezTo>
                    <a:pt x="2440301" y="45719"/>
                    <a:pt x="2438396" y="46989"/>
                    <a:pt x="2437126" y="48894"/>
                  </a:cubicBezTo>
                  <a:cubicBezTo>
                    <a:pt x="2435856" y="50799"/>
                    <a:pt x="2434586" y="52704"/>
                    <a:pt x="2433951" y="55244"/>
                  </a:cubicBezTo>
                  <a:cubicBezTo>
                    <a:pt x="2433316" y="57784"/>
                    <a:pt x="2432681" y="60324"/>
                    <a:pt x="2432681" y="63499"/>
                  </a:cubicBezTo>
                  <a:lnTo>
                    <a:pt x="2432681" y="109219"/>
                  </a:lnTo>
                  <a:lnTo>
                    <a:pt x="2417441" y="109219"/>
                  </a:lnTo>
                  <a:lnTo>
                    <a:pt x="2417441" y="8889"/>
                  </a:lnTo>
                  <a:close/>
                  <a:moveTo>
                    <a:pt x="1734181" y="634"/>
                  </a:moveTo>
                  <a:lnTo>
                    <a:pt x="1734181" y="38099"/>
                  </a:lnTo>
                  <a:cubicBezTo>
                    <a:pt x="1734181" y="38099"/>
                    <a:pt x="1736086" y="35559"/>
                    <a:pt x="1737991" y="34289"/>
                  </a:cubicBezTo>
                  <a:cubicBezTo>
                    <a:pt x="1739261" y="33019"/>
                    <a:pt x="1741166" y="32384"/>
                    <a:pt x="1742436" y="31114"/>
                  </a:cubicBezTo>
                  <a:cubicBezTo>
                    <a:pt x="1744341" y="30479"/>
                    <a:pt x="1746246" y="29844"/>
                    <a:pt x="1748151" y="29209"/>
                  </a:cubicBezTo>
                  <a:cubicBezTo>
                    <a:pt x="1750056" y="29209"/>
                    <a:pt x="1751961" y="29209"/>
                    <a:pt x="1753866" y="29209"/>
                  </a:cubicBezTo>
                  <a:cubicBezTo>
                    <a:pt x="1758311" y="29209"/>
                    <a:pt x="1762756" y="29844"/>
                    <a:pt x="1765931" y="31749"/>
                  </a:cubicBezTo>
                  <a:cubicBezTo>
                    <a:pt x="1769106" y="33019"/>
                    <a:pt x="1772281" y="35559"/>
                    <a:pt x="1774821" y="38099"/>
                  </a:cubicBezTo>
                  <a:cubicBezTo>
                    <a:pt x="1777361" y="41274"/>
                    <a:pt x="1778631" y="44449"/>
                    <a:pt x="1779901" y="49529"/>
                  </a:cubicBezTo>
                  <a:cubicBezTo>
                    <a:pt x="1781171" y="53974"/>
                    <a:pt x="1781806" y="59054"/>
                    <a:pt x="1781806" y="64134"/>
                  </a:cubicBezTo>
                  <a:lnTo>
                    <a:pt x="1781806" y="108584"/>
                  </a:lnTo>
                  <a:lnTo>
                    <a:pt x="1766566" y="108584"/>
                  </a:lnTo>
                  <a:lnTo>
                    <a:pt x="1765931" y="108584"/>
                  </a:lnTo>
                  <a:lnTo>
                    <a:pt x="1765931" y="64769"/>
                  </a:lnTo>
                  <a:cubicBezTo>
                    <a:pt x="1765931" y="57784"/>
                    <a:pt x="1764661" y="52069"/>
                    <a:pt x="1762121" y="48894"/>
                  </a:cubicBezTo>
                  <a:cubicBezTo>
                    <a:pt x="1759581" y="45084"/>
                    <a:pt x="1755771" y="43814"/>
                    <a:pt x="1750056" y="43814"/>
                  </a:cubicBezTo>
                  <a:cubicBezTo>
                    <a:pt x="1747516" y="43814"/>
                    <a:pt x="1745611" y="43814"/>
                    <a:pt x="1743706" y="45084"/>
                  </a:cubicBezTo>
                  <a:cubicBezTo>
                    <a:pt x="1741801" y="45719"/>
                    <a:pt x="1739896" y="46989"/>
                    <a:pt x="1738626" y="48894"/>
                  </a:cubicBezTo>
                  <a:cubicBezTo>
                    <a:pt x="1737356" y="50799"/>
                    <a:pt x="1736086" y="52704"/>
                    <a:pt x="1735451" y="55244"/>
                  </a:cubicBezTo>
                  <a:cubicBezTo>
                    <a:pt x="1734816" y="57784"/>
                    <a:pt x="1734181" y="60324"/>
                    <a:pt x="1734181" y="63499"/>
                  </a:cubicBezTo>
                  <a:lnTo>
                    <a:pt x="1734181" y="109219"/>
                  </a:lnTo>
                  <a:lnTo>
                    <a:pt x="1718941" y="109219"/>
                  </a:lnTo>
                  <a:lnTo>
                    <a:pt x="1718941" y="8889"/>
                  </a:lnTo>
                  <a:close/>
                  <a:moveTo>
                    <a:pt x="803275" y="634"/>
                  </a:moveTo>
                  <a:lnTo>
                    <a:pt x="803275" y="38099"/>
                  </a:lnTo>
                  <a:cubicBezTo>
                    <a:pt x="803275" y="38099"/>
                    <a:pt x="805180" y="35559"/>
                    <a:pt x="807085" y="34289"/>
                  </a:cubicBezTo>
                  <a:cubicBezTo>
                    <a:pt x="808355" y="33019"/>
                    <a:pt x="810260" y="32384"/>
                    <a:pt x="811530" y="31114"/>
                  </a:cubicBezTo>
                  <a:cubicBezTo>
                    <a:pt x="813435" y="30479"/>
                    <a:pt x="815340" y="29844"/>
                    <a:pt x="817245" y="29209"/>
                  </a:cubicBezTo>
                  <a:cubicBezTo>
                    <a:pt x="819150" y="29209"/>
                    <a:pt x="821055" y="29209"/>
                    <a:pt x="822960" y="29209"/>
                  </a:cubicBezTo>
                  <a:cubicBezTo>
                    <a:pt x="827405" y="29209"/>
                    <a:pt x="831850" y="29844"/>
                    <a:pt x="835025" y="31749"/>
                  </a:cubicBezTo>
                  <a:cubicBezTo>
                    <a:pt x="838200" y="33019"/>
                    <a:pt x="841375" y="35559"/>
                    <a:pt x="843915" y="38099"/>
                  </a:cubicBezTo>
                  <a:cubicBezTo>
                    <a:pt x="846455" y="41274"/>
                    <a:pt x="847725" y="44449"/>
                    <a:pt x="848995" y="49529"/>
                  </a:cubicBezTo>
                  <a:cubicBezTo>
                    <a:pt x="850265" y="53974"/>
                    <a:pt x="850900" y="59054"/>
                    <a:pt x="850900" y="64134"/>
                  </a:cubicBezTo>
                  <a:lnTo>
                    <a:pt x="850900" y="108584"/>
                  </a:lnTo>
                  <a:lnTo>
                    <a:pt x="835660" y="108584"/>
                  </a:lnTo>
                  <a:lnTo>
                    <a:pt x="835025" y="108584"/>
                  </a:lnTo>
                  <a:lnTo>
                    <a:pt x="835025" y="64769"/>
                  </a:lnTo>
                  <a:cubicBezTo>
                    <a:pt x="835025" y="57784"/>
                    <a:pt x="833755" y="52069"/>
                    <a:pt x="831215" y="48894"/>
                  </a:cubicBezTo>
                  <a:cubicBezTo>
                    <a:pt x="828675" y="45084"/>
                    <a:pt x="824865" y="43814"/>
                    <a:pt x="819150" y="43814"/>
                  </a:cubicBezTo>
                  <a:cubicBezTo>
                    <a:pt x="816610" y="43814"/>
                    <a:pt x="814705" y="43814"/>
                    <a:pt x="812800" y="45084"/>
                  </a:cubicBezTo>
                  <a:cubicBezTo>
                    <a:pt x="810895" y="45719"/>
                    <a:pt x="808990" y="46989"/>
                    <a:pt x="807720" y="48894"/>
                  </a:cubicBezTo>
                  <a:cubicBezTo>
                    <a:pt x="806450" y="50799"/>
                    <a:pt x="805180" y="52704"/>
                    <a:pt x="804545" y="55244"/>
                  </a:cubicBezTo>
                  <a:cubicBezTo>
                    <a:pt x="803910" y="57784"/>
                    <a:pt x="803275" y="60324"/>
                    <a:pt x="803275" y="63499"/>
                  </a:cubicBezTo>
                  <a:lnTo>
                    <a:pt x="803275" y="109219"/>
                  </a:lnTo>
                  <a:lnTo>
                    <a:pt x="788035" y="109219"/>
                  </a:lnTo>
                  <a:lnTo>
                    <a:pt x="788035" y="8889"/>
                  </a:lnTo>
                  <a:close/>
                  <a:moveTo>
                    <a:pt x="104774" y="634"/>
                  </a:moveTo>
                  <a:lnTo>
                    <a:pt x="104774" y="38099"/>
                  </a:lnTo>
                  <a:cubicBezTo>
                    <a:pt x="104774" y="38099"/>
                    <a:pt x="106679" y="35559"/>
                    <a:pt x="108584" y="34289"/>
                  </a:cubicBezTo>
                  <a:cubicBezTo>
                    <a:pt x="109854" y="33019"/>
                    <a:pt x="111759" y="32384"/>
                    <a:pt x="113029" y="31114"/>
                  </a:cubicBezTo>
                  <a:cubicBezTo>
                    <a:pt x="114934" y="30479"/>
                    <a:pt x="116839" y="29844"/>
                    <a:pt x="118744" y="29209"/>
                  </a:cubicBezTo>
                  <a:cubicBezTo>
                    <a:pt x="120649" y="29209"/>
                    <a:pt x="122554" y="29209"/>
                    <a:pt x="124459" y="29209"/>
                  </a:cubicBezTo>
                  <a:cubicBezTo>
                    <a:pt x="128904" y="29209"/>
                    <a:pt x="133349" y="29844"/>
                    <a:pt x="136524" y="31749"/>
                  </a:cubicBezTo>
                  <a:cubicBezTo>
                    <a:pt x="139699" y="33019"/>
                    <a:pt x="142874" y="35559"/>
                    <a:pt x="145414" y="38099"/>
                  </a:cubicBezTo>
                  <a:cubicBezTo>
                    <a:pt x="147954" y="41274"/>
                    <a:pt x="149224" y="44449"/>
                    <a:pt x="150494" y="49529"/>
                  </a:cubicBezTo>
                  <a:cubicBezTo>
                    <a:pt x="151764" y="53974"/>
                    <a:pt x="152399" y="59054"/>
                    <a:pt x="152399" y="64134"/>
                  </a:cubicBezTo>
                  <a:lnTo>
                    <a:pt x="152399" y="108584"/>
                  </a:lnTo>
                  <a:lnTo>
                    <a:pt x="137159" y="108584"/>
                  </a:lnTo>
                  <a:lnTo>
                    <a:pt x="136524" y="108584"/>
                  </a:lnTo>
                  <a:lnTo>
                    <a:pt x="136524" y="64769"/>
                  </a:lnTo>
                  <a:cubicBezTo>
                    <a:pt x="136524" y="57784"/>
                    <a:pt x="135254" y="52069"/>
                    <a:pt x="132714" y="48894"/>
                  </a:cubicBezTo>
                  <a:cubicBezTo>
                    <a:pt x="130174" y="45084"/>
                    <a:pt x="126364" y="43814"/>
                    <a:pt x="120649" y="43814"/>
                  </a:cubicBezTo>
                  <a:cubicBezTo>
                    <a:pt x="118109" y="43814"/>
                    <a:pt x="116204" y="43814"/>
                    <a:pt x="114299" y="45084"/>
                  </a:cubicBezTo>
                  <a:cubicBezTo>
                    <a:pt x="112394" y="45719"/>
                    <a:pt x="110489" y="46989"/>
                    <a:pt x="109219" y="48894"/>
                  </a:cubicBezTo>
                  <a:cubicBezTo>
                    <a:pt x="107949" y="50799"/>
                    <a:pt x="106679" y="52704"/>
                    <a:pt x="106044" y="55244"/>
                  </a:cubicBezTo>
                  <a:cubicBezTo>
                    <a:pt x="105409" y="57784"/>
                    <a:pt x="104774" y="60324"/>
                    <a:pt x="104774" y="63499"/>
                  </a:cubicBezTo>
                  <a:lnTo>
                    <a:pt x="104774" y="109219"/>
                  </a:lnTo>
                  <a:lnTo>
                    <a:pt x="89534" y="109219"/>
                  </a:lnTo>
                  <a:lnTo>
                    <a:pt x="89534" y="8889"/>
                  </a:lnTo>
                  <a:close/>
                  <a:moveTo>
                    <a:pt x="3894450" y="0"/>
                  </a:moveTo>
                  <a:lnTo>
                    <a:pt x="3894450" y="30480"/>
                  </a:lnTo>
                  <a:lnTo>
                    <a:pt x="3913500" y="30480"/>
                  </a:lnTo>
                  <a:lnTo>
                    <a:pt x="3913500" y="44450"/>
                  </a:lnTo>
                  <a:lnTo>
                    <a:pt x="3894450" y="44450"/>
                  </a:lnTo>
                  <a:lnTo>
                    <a:pt x="3894450" y="86995"/>
                  </a:lnTo>
                  <a:cubicBezTo>
                    <a:pt x="3894450" y="86995"/>
                    <a:pt x="3894450" y="90170"/>
                    <a:pt x="3894450" y="91440"/>
                  </a:cubicBezTo>
                  <a:cubicBezTo>
                    <a:pt x="3894450" y="92710"/>
                    <a:pt x="3895085" y="93345"/>
                    <a:pt x="3895720" y="94615"/>
                  </a:cubicBezTo>
                  <a:cubicBezTo>
                    <a:pt x="3896355" y="95250"/>
                    <a:pt x="3896990" y="95885"/>
                    <a:pt x="3898260" y="95885"/>
                  </a:cubicBezTo>
                  <a:cubicBezTo>
                    <a:pt x="3899530" y="95885"/>
                    <a:pt x="3900800" y="95885"/>
                    <a:pt x="3902070" y="95885"/>
                  </a:cubicBezTo>
                  <a:cubicBezTo>
                    <a:pt x="3903975" y="95885"/>
                    <a:pt x="3905880" y="95885"/>
                    <a:pt x="3908420" y="95250"/>
                  </a:cubicBezTo>
                  <a:cubicBezTo>
                    <a:pt x="3910325" y="94615"/>
                    <a:pt x="3912230" y="93980"/>
                    <a:pt x="3913500" y="93345"/>
                  </a:cubicBezTo>
                  <a:lnTo>
                    <a:pt x="3911595" y="106680"/>
                  </a:lnTo>
                  <a:cubicBezTo>
                    <a:pt x="3911595" y="106680"/>
                    <a:pt x="3907785" y="108585"/>
                    <a:pt x="3905245" y="109220"/>
                  </a:cubicBezTo>
                  <a:cubicBezTo>
                    <a:pt x="3902705" y="109855"/>
                    <a:pt x="3900165" y="110490"/>
                    <a:pt x="3896990" y="110490"/>
                  </a:cubicBezTo>
                  <a:cubicBezTo>
                    <a:pt x="3894450" y="110490"/>
                    <a:pt x="3891910" y="110490"/>
                    <a:pt x="3890005" y="109220"/>
                  </a:cubicBezTo>
                  <a:cubicBezTo>
                    <a:pt x="3888100" y="108585"/>
                    <a:pt x="3886195" y="107315"/>
                    <a:pt x="3884290" y="105410"/>
                  </a:cubicBezTo>
                  <a:cubicBezTo>
                    <a:pt x="3882385" y="103505"/>
                    <a:pt x="3881115" y="101600"/>
                    <a:pt x="3880480" y="99060"/>
                  </a:cubicBezTo>
                  <a:cubicBezTo>
                    <a:pt x="3879845" y="96520"/>
                    <a:pt x="3879210" y="93345"/>
                    <a:pt x="3879210" y="89535"/>
                  </a:cubicBezTo>
                  <a:lnTo>
                    <a:pt x="3879210" y="44450"/>
                  </a:lnTo>
                  <a:lnTo>
                    <a:pt x="3868415" y="44450"/>
                  </a:lnTo>
                  <a:lnTo>
                    <a:pt x="3868415" y="30480"/>
                  </a:lnTo>
                  <a:lnTo>
                    <a:pt x="3879210" y="30480"/>
                  </a:lnTo>
                  <a:lnTo>
                    <a:pt x="3879210" y="8255"/>
                  </a:lnTo>
                  <a:close/>
                  <a:moveTo>
                    <a:pt x="3664581" y="0"/>
                  </a:moveTo>
                  <a:lnTo>
                    <a:pt x="3664581" y="30480"/>
                  </a:lnTo>
                  <a:lnTo>
                    <a:pt x="3683631" y="30480"/>
                  </a:lnTo>
                  <a:lnTo>
                    <a:pt x="3683631" y="44450"/>
                  </a:lnTo>
                  <a:lnTo>
                    <a:pt x="3664581" y="44450"/>
                  </a:lnTo>
                  <a:lnTo>
                    <a:pt x="3664581" y="86995"/>
                  </a:lnTo>
                  <a:cubicBezTo>
                    <a:pt x="3664581" y="86995"/>
                    <a:pt x="3664581" y="90170"/>
                    <a:pt x="3664581" y="91440"/>
                  </a:cubicBezTo>
                  <a:cubicBezTo>
                    <a:pt x="3664581" y="92710"/>
                    <a:pt x="3665216" y="93345"/>
                    <a:pt x="3665851" y="94615"/>
                  </a:cubicBezTo>
                  <a:cubicBezTo>
                    <a:pt x="3666486" y="95250"/>
                    <a:pt x="3667121" y="95885"/>
                    <a:pt x="3668391" y="95885"/>
                  </a:cubicBezTo>
                  <a:cubicBezTo>
                    <a:pt x="3669661" y="95885"/>
                    <a:pt x="3670931" y="95885"/>
                    <a:pt x="3672201" y="95885"/>
                  </a:cubicBezTo>
                  <a:cubicBezTo>
                    <a:pt x="3674106" y="95885"/>
                    <a:pt x="3676011" y="95885"/>
                    <a:pt x="3678551" y="95250"/>
                  </a:cubicBezTo>
                  <a:cubicBezTo>
                    <a:pt x="3680456" y="94615"/>
                    <a:pt x="3682361" y="93980"/>
                    <a:pt x="3683631" y="93345"/>
                  </a:cubicBezTo>
                  <a:lnTo>
                    <a:pt x="3681726" y="106680"/>
                  </a:lnTo>
                  <a:cubicBezTo>
                    <a:pt x="3681726" y="106680"/>
                    <a:pt x="3677916" y="108585"/>
                    <a:pt x="3675376" y="109220"/>
                  </a:cubicBezTo>
                  <a:cubicBezTo>
                    <a:pt x="3672836" y="109855"/>
                    <a:pt x="3670296" y="110490"/>
                    <a:pt x="3667121" y="110490"/>
                  </a:cubicBezTo>
                  <a:cubicBezTo>
                    <a:pt x="3664581" y="110490"/>
                    <a:pt x="3662041" y="110490"/>
                    <a:pt x="3660136" y="109220"/>
                  </a:cubicBezTo>
                  <a:cubicBezTo>
                    <a:pt x="3658231" y="108585"/>
                    <a:pt x="3656326" y="107315"/>
                    <a:pt x="3654421" y="105410"/>
                  </a:cubicBezTo>
                  <a:cubicBezTo>
                    <a:pt x="3652516" y="103505"/>
                    <a:pt x="3651246" y="101600"/>
                    <a:pt x="3650611" y="99060"/>
                  </a:cubicBezTo>
                  <a:cubicBezTo>
                    <a:pt x="3649976" y="96520"/>
                    <a:pt x="3649341" y="93345"/>
                    <a:pt x="3649341" y="89535"/>
                  </a:cubicBezTo>
                  <a:lnTo>
                    <a:pt x="3649341" y="44450"/>
                  </a:lnTo>
                  <a:lnTo>
                    <a:pt x="3638546" y="44450"/>
                  </a:lnTo>
                  <a:lnTo>
                    <a:pt x="3638546" y="30480"/>
                  </a:lnTo>
                  <a:lnTo>
                    <a:pt x="3649341" y="30480"/>
                  </a:lnTo>
                  <a:lnTo>
                    <a:pt x="3649341" y="8255"/>
                  </a:lnTo>
                  <a:close/>
                  <a:moveTo>
                    <a:pt x="3610605" y="0"/>
                  </a:moveTo>
                  <a:lnTo>
                    <a:pt x="3610605" y="30480"/>
                  </a:lnTo>
                  <a:lnTo>
                    <a:pt x="3629655" y="30480"/>
                  </a:lnTo>
                  <a:lnTo>
                    <a:pt x="3629655" y="44450"/>
                  </a:lnTo>
                  <a:lnTo>
                    <a:pt x="3610605" y="44450"/>
                  </a:lnTo>
                  <a:lnTo>
                    <a:pt x="3610605" y="86995"/>
                  </a:lnTo>
                  <a:cubicBezTo>
                    <a:pt x="3610605" y="86995"/>
                    <a:pt x="3610605" y="90170"/>
                    <a:pt x="3610605" y="91440"/>
                  </a:cubicBezTo>
                  <a:cubicBezTo>
                    <a:pt x="3610605" y="92710"/>
                    <a:pt x="3611240" y="93345"/>
                    <a:pt x="3611875" y="94615"/>
                  </a:cubicBezTo>
                  <a:cubicBezTo>
                    <a:pt x="3612510" y="95250"/>
                    <a:pt x="3613145" y="95885"/>
                    <a:pt x="3614415" y="95885"/>
                  </a:cubicBezTo>
                  <a:cubicBezTo>
                    <a:pt x="3615685" y="95885"/>
                    <a:pt x="3616955" y="95885"/>
                    <a:pt x="3618225" y="95885"/>
                  </a:cubicBezTo>
                  <a:cubicBezTo>
                    <a:pt x="3620130" y="95885"/>
                    <a:pt x="3622035" y="95885"/>
                    <a:pt x="3624575" y="95250"/>
                  </a:cubicBezTo>
                  <a:cubicBezTo>
                    <a:pt x="3626480" y="94615"/>
                    <a:pt x="3628385" y="93980"/>
                    <a:pt x="3629655" y="93345"/>
                  </a:cubicBezTo>
                  <a:lnTo>
                    <a:pt x="3627750" y="106680"/>
                  </a:lnTo>
                  <a:cubicBezTo>
                    <a:pt x="3627750" y="106680"/>
                    <a:pt x="3623940" y="108585"/>
                    <a:pt x="3621400" y="109220"/>
                  </a:cubicBezTo>
                  <a:cubicBezTo>
                    <a:pt x="3618860" y="109855"/>
                    <a:pt x="3616320" y="110490"/>
                    <a:pt x="3613145" y="110490"/>
                  </a:cubicBezTo>
                  <a:cubicBezTo>
                    <a:pt x="3610605" y="110490"/>
                    <a:pt x="3608065" y="110490"/>
                    <a:pt x="3606160" y="109220"/>
                  </a:cubicBezTo>
                  <a:cubicBezTo>
                    <a:pt x="3604255" y="108585"/>
                    <a:pt x="3602350" y="107315"/>
                    <a:pt x="3600445" y="105410"/>
                  </a:cubicBezTo>
                  <a:cubicBezTo>
                    <a:pt x="3598540" y="103505"/>
                    <a:pt x="3597270" y="101600"/>
                    <a:pt x="3596635" y="99060"/>
                  </a:cubicBezTo>
                  <a:cubicBezTo>
                    <a:pt x="3596000" y="96520"/>
                    <a:pt x="3595365" y="93345"/>
                    <a:pt x="3595365" y="89535"/>
                  </a:cubicBezTo>
                  <a:lnTo>
                    <a:pt x="3595365" y="44450"/>
                  </a:lnTo>
                  <a:lnTo>
                    <a:pt x="3584570" y="44450"/>
                  </a:lnTo>
                  <a:lnTo>
                    <a:pt x="3584570" y="30480"/>
                  </a:lnTo>
                  <a:lnTo>
                    <a:pt x="3595365" y="30480"/>
                  </a:lnTo>
                  <a:lnTo>
                    <a:pt x="3595365" y="8255"/>
                  </a:lnTo>
                  <a:close/>
                  <a:moveTo>
                    <a:pt x="3445505" y="0"/>
                  </a:moveTo>
                  <a:lnTo>
                    <a:pt x="3445505" y="37465"/>
                  </a:lnTo>
                  <a:cubicBezTo>
                    <a:pt x="3445505" y="37465"/>
                    <a:pt x="3448680" y="34925"/>
                    <a:pt x="3449950" y="33655"/>
                  </a:cubicBezTo>
                  <a:cubicBezTo>
                    <a:pt x="3451220" y="33020"/>
                    <a:pt x="3452490" y="31750"/>
                    <a:pt x="3453760" y="31115"/>
                  </a:cubicBezTo>
                  <a:cubicBezTo>
                    <a:pt x="3455030" y="30480"/>
                    <a:pt x="3456935" y="29845"/>
                    <a:pt x="3458840" y="29210"/>
                  </a:cubicBezTo>
                  <a:cubicBezTo>
                    <a:pt x="3460745" y="29210"/>
                    <a:pt x="3463285" y="28575"/>
                    <a:pt x="3465825" y="28575"/>
                  </a:cubicBezTo>
                  <a:cubicBezTo>
                    <a:pt x="3470270" y="28575"/>
                    <a:pt x="3474080" y="29210"/>
                    <a:pt x="3477890" y="31115"/>
                  </a:cubicBezTo>
                  <a:cubicBezTo>
                    <a:pt x="3481700" y="32385"/>
                    <a:pt x="3484875" y="34925"/>
                    <a:pt x="3487415" y="38735"/>
                  </a:cubicBezTo>
                  <a:cubicBezTo>
                    <a:pt x="3489955" y="41910"/>
                    <a:pt x="3492495" y="46355"/>
                    <a:pt x="3493765" y="51435"/>
                  </a:cubicBezTo>
                  <a:cubicBezTo>
                    <a:pt x="3495035" y="56515"/>
                    <a:pt x="3496305" y="62865"/>
                    <a:pt x="3496305" y="70485"/>
                  </a:cubicBezTo>
                  <a:lnTo>
                    <a:pt x="3495670" y="71120"/>
                  </a:lnTo>
                  <a:cubicBezTo>
                    <a:pt x="3495670" y="77470"/>
                    <a:pt x="3495035" y="83820"/>
                    <a:pt x="3493130" y="88265"/>
                  </a:cubicBezTo>
                  <a:cubicBezTo>
                    <a:pt x="3491225" y="93345"/>
                    <a:pt x="3489320" y="97155"/>
                    <a:pt x="3486145" y="100330"/>
                  </a:cubicBezTo>
                  <a:cubicBezTo>
                    <a:pt x="3483605" y="103505"/>
                    <a:pt x="3479795" y="106045"/>
                    <a:pt x="3476620" y="107315"/>
                  </a:cubicBezTo>
                  <a:cubicBezTo>
                    <a:pt x="3472810" y="109220"/>
                    <a:pt x="3469000" y="109855"/>
                    <a:pt x="3465190" y="109855"/>
                  </a:cubicBezTo>
                  <a:cubicBezTo>
                    <a:pt x="3461380" y="109855"/>
                    <a:pt x="3457570" y="109220"/>
                    <a:pt x="3454395" y="107315"/>
                  </a:cubicBezTo>
                  <a:cubicBezTo>
                    <a:pt x="3450585" y="105410"/>
                    <a:pt x="3448045" y="103505"/>
                    <a:pt x="3445505" y="100965"/>
                  </a:cubicBezTo>
                  <a:lnTo>
                    <a:pt x="3445505" y="107950"/>
                  </a:lnTo>
                  <a:lnTo>
                    <a:pt x="3430265" y="107950"/>
                  </a:lnTo>
                  <a:lnTo>
                    <a:pt x="3430265" y="7620"/>
                  </a:lnTo>
                  <a:close/>
                  <a:moveTo>
                    <a:pt x="2380611" y="0"/>
                  </a:moveTo>
                  <a:lnTo>
                    <a:pt x="2380611" y="30480"/>
                  </a:lnTo>
                  <a:lnTo>
                    <a:pt x="2399661" y="30480"/>
                  </a:lnTo>
                  <a:lnTo>
                    <a:pt x="2399661" y="44450"/>
                  </a:lnTo>
                  <a:lnTo>
                    <a:pt x="2380611" y="44450"/>
                  </a:lnTo>
                  <a:lnTo>
                    <a:pt x="2380611" y="86995"/>
                  </a:lnTo>
                  <a:cubicBezTo>
                    <a:pt x="2380611" y="86995"/>
                    <a:pt x="2380611" y="90170"/>
                    <a:pt x="2380611" y="91440"/>
                  </a:cubicBezTo>
                  <a:cubicBezTo>
                    <a:pt x="2380611" y="92710"/>
                    <a:pt x="2381246" y="93345"/>
                    <a:pt x="2381881" y="94615"/>
                  </a:cubicBezTo>
                  <a:cubicBezTo>
                    <a:pt x="2382516" y="95250"/>
                    <a:pt x="2383151" y="95885"/>
                    <a:pt x="2384421" y="95885"/>
                  </a:cubicBezTo>
                  <a:cubicBezTo>
                    <a:pt x="2385691" y="95885"/>
                    <a:pt x="2386961" y="95885"/>
                    <a:pt x="2388231" y="95885"/>
                  </a:cubicBezTo>
                  <a:cubicBezTo>
                    <a:pt x="2390136" y="95885"/>
                    <a:pt x="2392041" y="95885"/>
                    <a:pt x="2394581" y="95250"/>
                  </a:cubicBezTo>
                  <a:cubicBezTo>
                    <a:pt x="2396486" y="94615"/>
                    <a:pt x="2398391" y="93980"/>
                    <a:pt x="2399661" y="93345"/>
                  </a:cubicBezTo>
                  <a:lnTo>
                    <a:pt x="2397756" y="106680"/>
                  </a:lnTo>
                  <a:cubicBezTo>
                    <a:pt x="2397756" y="106680"/>
                    <a:pt x="2393946" y="108585"/>
                    <a:pt x="2391406" y="109220"/>
                  </a:cubicBezTo>
                  <a:cubicBezTo>
                    <a:pt x="2388866" y="109855"/>
                    <a:pt x="2386326" y="110490"/>
                    <a:pt x="2383151" y="110490"/>
                  </a:cubicBezTo>
                  <a:cubicBezTo>
                    <a:pt x="2380611" y="110490"/>
                    <a:pt x="2378071" y="110490"/>
                    <a:pt x="2376166" y="109220"/>
                  </a:cubicBezTo>
                  <a:cubicBezTo>
                    <a:pt x="2374261" y="108585"/>
                    <a:pt x="2372356" y="107315"/>
                    <a:pt x="2370451" y="105410"/>
                  </a:cubicBezTo>
                  <a:cubicBezTo>
                    <a:pt x="2368546" y="103505"/>
                    <a:pt x="2367276" y="101600"/>
                    <a:pt x="2366641" y="99060"/>
                  </a:cubicBezTo>
                  <a:cubicBezTo>
                    <a:pt x="2366006" y="96520"/>
                    <a:pt x="2365371" y="93345"/>
                    <a:pt x="2365371" y="89535"/>
                  </a:cubicBezTo>
                  <a:lnTo>
                    <a:pt x="2365371" y="44450"/>
                  </a:lnTo>
                  <a:lnTo>
                    <a:pt x="2354576" y="44450"/>
                  </a:lnTo>
                  <a:lnTo>
                    <a:pt x="2354576" y="30480"/>
                  </a:lnTo>
                  <a:lnTo>
                    <a:pt x="2365371" y="30480"/>
                  </a:lnTo>
                  <a:lnTo>
                    <a:pt x="2365371" y="8255"/>
                  </a:lnTo>
                  <a:close/>
                  <a:moveTo>
                    <a:pt x="2150741" y="0"/>
                  </a:moveTo>
                  <a:lnTo>
                    <a:pt x="2150741" y="30480"/>
                  </a:lnTo>
                  <a:lnTo>
                    <a:pt x="2169791" y="30480"/>
                  </a:lnTo>
                  <a:lnTo>
                    <a:pt x="2169791" y="44450"/>
                  </a:lnTo>
                  <a:lnTo>
                    <a:pt x="2150741" y="44450"/>
                  </a:lnTo>
                  <a:lnTo>
                    <a:pt x="2150741" y="86995"/>
                  </a:lnTo>
                  <a:cubicBezTo>
                    <a:pt x="2150741" y="86995"/>
                    <a:pt x="2150741" y="90170"/>
                    <a:pt x="2150741" y="91440"/>
                  </a:cubicBezTo>
                  <a:cubicBezTo>
                    <a:pt x="2150741" y="92710"/>
                    <a:pt x="2151376" y="93345"/>
                    <a:pt x="2152011" y="94615"/>
                  </a:cubicBezTo>
                  <a:cubicBezTo>
                    <a:pt x="2152646" y="95250"/>
                    <a:pt x="2153281" y="95885"/>
                    <a:pt x="2154551" y="95885"/>
                  </a:cubicBezTo>
                  <a:cubicBezTo>
                    <a:pt x="2155821" y="95885"/>
                    <a:pt x="2157091" y="95885"/>
                    <a:pt x="2158361" y="95885"/>
                  </a:cubicBezTo>
                  <a:cubicBezTo>
                    <a:pt x="2160266" y="95885"/>
                    <a:pt x="2162171" y="95885"/>
                    <a:pt x="2164711" y="95250"/>
                  </a:cubicBezTo>
                  <a:cubicBezTo>
                    <a:pt x="2166616" y="94615"/>
                    <a:pt x="2168521" y="93980"/>
                    <a:pt x="2169791" y="93345"/>
                  </a:cubicBezTo>
                  <a:lnTo>
                    <a:pt x="2167886" y="106680"/>
                  </a:lnTo>
                  <a:cubicBezTo>
                    <a:pt x="2167886" y="106680"/>
                    <a:pt x="2164076" y="108585"/>
                    <a:pt x="2161536" y="109220"/>
                  </a:cubicBezTo>
                  <a:cubicBezTo>
                    <a:pt x="2158996" y="109855"/>
                    <a:pt x="2156456" y="110490"/>
                    <a:pt x="2153281" y="110490"/>
                  </a:cubicBezTo>
                  <a:cubicBezTo>
                    <a:pt x="2150741" y="110490"/>
                    <a:pt x="2148201" y="110490"/>
                    <a:pt x="2146296" y="109220"/>
                  </a:cubicBezTo>
                  <a:cubicBezTo>
                    <a:pt x="2144391" y="108585"/>
                    <a:pt x="2142486" y="107315"/>
                    <a:pt x="2140581" y="105410"/>
                  </a:cubicBezTo>
                  <a:cubicBezTo>
                    <a:pt x="2138676" y="103505"/>
                    <a:pt x="2137406" y="101600"/>
                    <a:pt x="2136771" y="99060"/>
                  </a:cubicBezTo>
                  <a:cubicBezTo>
                    <a:pt x="2136136" y="96520"/>
                    <a:pt x="2135501" y="93345"/>
                    <a:pt x="2135501" y="89535"/>
                  </a:cubicBezTo>
                  <a:lnTo>
                    <a:pt x="2135501" y="44450"/>
                  </a:lnTo>
                  <a:lnTo>
                    <a:pt x="2124706" y="44450"/>
                  </a:lnTo>
                  <a:lnTo>
                    <a:pt x="2124706" y="30480"/>
                  </a:lnTo>
                  <a:lnTo>
                    <a:pt x="2135501" y="30480"/>
                  </a:lnTo>
                  <a:lnTo>
                    <a:pt x="2135501" y="8255"/>
                  </a:lnTo>
                  <a:close/>
                  <a:moveTo>
                    <a:pt x="2096131" y="0"/>
                  </a:moveTo>
                  <a:lnTo>
                    <a:pt x="2096131" y="30480"/>
                  </a:lnTo>
                  <a:lnTo>
                    <a:pt x="2115181" y="30480"/>
                  </a:lnTo>
                  <a:lnTo>
                    <a:pt x="2115181" y="44450"/>
                  </a:lnTo>
                  <a:lnTo>
                    <a:pt x="2096131" y="44450"/>
                  </a:lnTo>
                  <a:lnTo>
                    <a:pt x="2096131" y="86995"/>
                  </a:lnTo>
                  <a:cubicBezTo>
                    <a:pt x="2096131" y="86995"/>
                    <a:pt x="2096131" y="90170"/>
                    <a:pt x="2096131" y="91440"/>
                  </a:cubicBezTo>
                  <a:cubicBezTo>
                    <a:pt x="2096131" y="92710"/>
                    <a:pt x="2096766" y="93345"/>
                    <a:pt x="2097401" y="94615"/>
                  </a:cubicBezTo>
                  <a:cubicBezTo>
                    <a:pt x="2098036" y="95250"/>
                    <a:pt x="2098671" y="95885"/>
                    <a:pt x="2099941" y="95885"/>
                  </a:cubicBezTo>
                  <a:cubicBezTo>
                    <a:pt x="2101211" y="95885"/>
                    <a:pt x="2102481" y="95885"/>
                    <a:pt x="2103751" y="95885"/>
                  </a:cubicBezTo>
                  <a:cubicBezTo>
                    <a:pt x="2105656" y="95885"/>
                    <a:pt x="2107561" y="95885"/>
                    <a:pt x="2110101" y="95250"/>
                  </a:cubicBezTo>
                  <a:cubicBezTo>
                    <a:pt x="2112006" y="94615"/>
                    <a:pt x="2113911" y="93980"/>
                    <a:pt x="2115181" y="93345"/>
                  </a:cubicBezTo>
                  <a:lnTo>
                    <a:pt x="2113276" y="106680"/>
                  </a:lnTo>
                  <a:cubicBezTo>
                    <a:pt x="2113276" y="106680"/>
                    <a:pt x="2109466" y="108585"/>
                    <a:pt x="2106926" y="109220"/>
                  </a:cubicBezTo>
                  <a:cubicBezTo>
                    <a:pt x="2104386" y="109855"/>
                    <a:pt x="2101846" y="110490"/>
                    <a:pt x="2098671" y="110490"/>
                  </a:cubicBezTo>
                  <a:cubicBezTo>
                    <a:pt x="2096131" y="110490"/>
                    <a:pt x="2093591" y="110490"/>
                    <a:pt x="2091686" y="109220"/>
                  </a:cubicBezTo>
                  <a:cubicBezTo>
                    <a:pt x="2089781" y="108585"/>
                    <a:pt x="2087876" y="107315"/>
                    <a:pt x="2085971" y="105410"/>
                  </a:cubicBezTo>
                  <a:cubicBezTo>
                    <a:pt x="2084066" y="103505"/>
                    <a:pt x="2082796" y="101600"/>
                    <a:pt x="2082161" y="99060"/>
                  </a:cubicBezTo>
                  <a:cubicBezTo>
                    <a:pt x="2081526" y="96520"/>
                    <a:pt x="2080891" y="93345"/>
                    <a:pt x="2080891" y="89535"/>
                  </a:cubicBezTo>
                  <a:lnTo>
                    <a:pt x="2080891" y="44450"/>
                  </a:lnTo>
                  <a:lnTo>
                    <a:pt x="2070096" y="44450"/>
                  </a:lnTo>
                  <a:lnTo>
                    <a:pt x="2070096" y="30480"/>
                  </a:lnTo>
                  <a:lnTo>
                    <a:pt x="2080891" y="30480"/>
                  </a:lnTo>
                  <a:lnTo>
                    <a:pt x="2080891" y="8255"/>
                  </a:lnTo>
                  <a:close/>
                  <a:moveTo>
                    <a:pt x="1931665" y="0"/>
                  </a:moveTo>
                  <a:lnTo>
                    <a:pt x="1931665" y="37465"/>
                  </a:lnTo>
                  <a:cubicBezTo>
                    <a:pt x="1931665" y="37465"/>
                    <a:pt x="1934840" y="34925"/>
                    <a:pt x="1936110" y="33655"/>
                  </a:cubicBezTo>
                  <a:cubicBezTo>
                    <a:pt x="1937380" y="33020"/>
                    <a:pt x="1938650" y="31750"/>
                    <a:pt x="1939920" y="31115"/>
                  </a:cubicBezTo>
                  <a:cubicBezTo>
                    <a:pt x="1941190" y="30480"/>
                    <a:pt x="1943095" y="29845"/>
                    <a:pt x="1945000" y="29210"/>
                  </a:cubicBezTo>
                  <a:cubicBezTo>
                    <a:pt x="1946905" y="29210"/>
                    <a:pt x="1949445" y="28575"/>
                    <a:pt x="1951985" y="28575"/>
                  </a:cubicBezTo>
                  <a:cubicBezTo>
                    <a:pt x="1956430" y="28575"/>
                    <a:pt x="1960240" y="29210"/>
                    <a:pt x="1964050" y="31115"/>
                  </a:cubicBezTo>
                  <a:cubicBezTo>
                    <a:pt x="1967860" y="32385"/>
                    <a:pt x="1971035" y="34925"/>
                    <a:pt x="1973575" y="38735"/>
                  </a:cubicBezTo>
                  <a:cubicBezTo>
                    <a:pt x="1976115" y="41910"/>
                    <a:pt x="1978655" y="46355"/>
                    <a:pt x="1979925" y="51435"/>
                  </a:cubicBezTo>
                  <a:cubicBezTo>
                    <a:pt x="1981195" y="56515"/>
                    <a:pt x="1982465" y="62865"/>
                    <a:pt x="1982465" y="70485"/>
                  </a:cubicBezTo>
                  <a:lnTo>
                    <a:pt x="1981830" y="71120"/>
                  </a:lnTo>
                  <a:cubicBezTo>
                    <a:pt x="1981830" y="77470"/>
                    <a:pt x="1981195" y="83820"/>
                    <a:pt x="1979290" y="88265"/>
                  </a:cubicBezTo>
                  <a:cubicBezTo>
                    <a:pt x="1977385" y="93345"/>
                    <a:pt x="1975480" y="97155"/>
                    <a:pt x="1972305" y="100330"/>
                  </a:cubicBezTo>
                  <a:cubicBezTo>
                    <a:pt x="1969765" y="103505"/>
                    <a:pt x="1965955" y="106045"/>
                    <a:pt x="1962780" y="107315"/>
                  </a:cubicBezTo>
                  <a:cubicBezTo>
                    <a:pt x="1958970" y="109220"/>
                    <a:pt x="1955160" y="109855"/>
                    <a:pt x="1951350" y="109855"/>
                  </a:cubicBezTo>
                  <a:cubicBezTo>
                    <a:pt x="1947540" y="109855"/>
                    <a:pt x="1943730" y="109220"/>
                    <a:pt x="1940555" y="107315"/>
                  </a:cubicBezTo>
                  <a:cubicBezTo>
                    <a:pt x="1936745" y="105410"/>
                    <a:pt x="1934205" y="103505"/>
                    <a:pt x="1931665" y="100965"/>
                  </a:cubicBezTo>
                  <a:lnTo>
                    <a:pt x="1931665" y="107950"/>
                  </a:lnTo>
                  <a:lnTo>
                    <a:pt x="1916425" y="107950"/>
                  </a:lnTo>
                  <a:lnTo>
                    <a:pt x="1916425" y="7620"/>
                  </a:lnTo>
                  <a:close/>
                  <a:moveTo>
                    <a:pt x="1316991" y="0"/>
                  </a:moveTo>
                  <a:lnTo>
                    <a:pt x="1316991" y="30480"/>
                  </a:lnTo>
                  <a:lnTo>
                    <a:pt x="1336041" y="30480"/>
                  </a:lnTo>
                  <a:lnTo>
                    <a:pt x="1336041" y="44450"/>
                  </a:lnTo>
                  <a:lnTo>
                    <a:pt x="1316991" y="44450"/>
                  </a:lnTo>
                  <a:lnTo>
                    <a:pt x="1316991" y="86995"/>
                  </a:lnTo>
                  <a:cubicBezTo>
                    <a:pt x="1316991" y="86995"/>
                    <a:pt x="1316991" y="90170"/>
                    <a:pt x="1316991" y="91440"/>
                  </a:cubicBezTo>
                  <a:cubicBezTo>
                    <a:pt x="1316991" y="92710"/>
                    <a:pt x="1317627" y="93345"/>
                    <a:pt x="1318261" y="94615"/>
                  </a:cubicBezTo>
                  <a:cubicBezTo>
                    <a:pt x="1318896" y="95250"/>
                    <a:pt x="1319531" y="95885"/>
                    <a:pt x="1320801" y="95885"/>
                  </a:cubicBezTo>
                  <a:cubicBezTo>
                    <a:pt x="1322072" y="95885"/>
                    <a:pt x="1323341" y="95885"/>
                    <a:pt x="1324611" y="95885"/>
                  </a:cubicBezTo>
                  <a:cubicBezTo>
                    <a:pt x="1326516" y="95885"/>
                    <a:pt x="1328422" y="95885"/>
                    <a:pt x="1330961" y="95250"/>
                  </a:cubicBezTo>
                  <a:cubicBezTo>
                    <a:pt x="1332867" y="94615"/>
                    <a:pt x="1334772" y="93980"/>
                    <a:pt x="1336041" y="93345"/>
                  </a:cubicBezTo>
                  <a:lnTo>
                    <a:pt x="1334136" y="106680"/>
                  </a:lnTo>
                  <a:cubicBezTo>
                    <a:pt x="1334136" y="106680"/>
                    <a:pt x="1330326" y="108585"/>
                    <a:pt x="1327786" y="109220"/>
                  </a:cubicBezTo>
                  <a:cubicBezTo>
                    <a:pt x="1325246" y="109855"/>
                    <a:pt x="1322706" y="110490"/>
                    <a:pt x="1319531" y="110490"/>
                  </a:cubicBezTo>
                  <a:cubicBezTo>
                    <a:pt x="1316991" y="110490"/>
                    <a:pt x="1314451" y="110490"/>
                    <a:pt x="1312546" y="109220"/>
                  </a:cubicBezTo>
                  <a:cubicBezTo>
                    <a:pt x="1310641" y="108585"/>
                    <a:pt x="1308736" y="107315"/>
                    <a:pt x="1306831" y="105410"/>
                  </a:cubicBezTo>
                  <a:cubicBezTo>
                    <a:pt x="1304926" y="103505"/>
                    <a:pt x="1303656" y="101600"/>
                    <a:pt x="1303021" y="99060"/>
                  </a:cubicBezTo>
                  <a:cubicBezTo>
                    <a:pt x="1302386" y="96520"/>
                    <a:pt x="1301751" y="93345"/>
                    <a:pt x="1301751" y="89535"/>
                  </a:cubicBezTo>
                  <a:lnTo>
                    <a:pt x="1301751" y="44450"/>
                  </a:lnTo>
                  <a:lnTo>
                    <a:pt x="1290956" y="44450"/>
                  </a:lnTo>
                  <a:lnTo>
                    <a:pt x="1290956" y="30480"/>
                  </a:lnTo>
                  <a:lnTo>
                    <a:pt x="1301751" y="30480"/>
                  </a:lnTo>
                  <a:lnTo>
                    <a:pt x="1301751" y="8255"/>
                  </a:lnTo>
                  <a:close/>
                  <a:moveTo>
                    <a:pt x="751206" y="0"/>
                  </a:moveTo>
                  <a:lnTo>
                    <a:pt x="751206" y="30480"/>
                  </a:lnTo>
                  <a:lnTo>
                    <a:pt x="770256" y="30480"/>
                  </a:lnTo>
                  <a:lnTo>
                    <a:pt x="770256" y="44450"/>
                  </a:lnTo>
                  <a:lnTo>
                    <a:pt x="751206" y="44450"/>
                  </a:lnTo>
                  <a:lnTo>
                    <a:pt x="751206" y="86995"/>
                  </a:lnTo>
                  <a:cubicBezTo>
                    <a:pt x="751206" y="86995"/>
                    <a:pt x="751206" y="90170"/>
                    <a:pt x="751206" y="91440"/>
                  </a:cubicBezTo>
                  <a:cubicBezTo>
                    <a:pt x="751206" y="92710"/>
                    <a:pt x="751841" y="93345"/>
                    <a:pt x="752476" y="94615"/>
                  </a:cubicBezTo>
                  <a:cubicBezTo>
                    <a:pt x="753111" y="95250"/>
                    <a:pt x="753746" y="95885"/>
                    <a:pt x="755016" y="95885"/>
                  </a:cubicBezTo>
                  <a:cubicBezTo>
                    <a:pt x="756286" y="95885"/>
                    <a:pt x="757556" y="95885"/>
                    <a:pt x="758826" y="95885"/>
                  </a:cubicBezTo>
                  <a:cubicBezTo>
                    <a:pt x="760731" y="95885"/>
                    <a:pt x="762636" y="95885"/>
                    <a:pt x="765176" y="95250"/>
                  </a:cubicBezTo>
                  <a:cubicBezTo>
                    <a:pt x="767081" y="94615"/>
                    <a:pt x="768986" y="93980"/>
                    <a:pt x="770256" y="93345"/>
                  </a:cubicBezTo>
                  <a:lnTo>
                    <a:pt x="768351" y="106680"/>
                  </a:lnTo>
                  <a:cubicBezTo>
                    <a:pt x="768351" y="106680"/>
                    <a:pt x="764541" y="108585"/>
                    <a:pt x="762001" y="109220"/>
                  </a:cubicBezTo>
                  <a:cubicBezTo>
                    <a:pt x="759461" y="109855"/>
                    <a:pt x="756921" y="110490"/>
                    <a:pt x="753746" y="110490"/>
                  </a:cubicBezTo>
                  <a:cubicBezTo>
                    <a:pt x="751206" y="110490"/>
                    <a:pt x="748666" y="110490"/>
                    <a:pt x="746761" y="109220"/>
                  </a:cubicBezTo>
                  <a:cubicBezTo>
                    <a:pt x="744856" y="108585"/>
                    <a:pt x="742951" y="107315"/>
                    <a:pt x="741045" y="105410"/>
                  </a:cubicBezTo>
                  <a:cubicBezTo>
                    <a:pt x="739141" y="103505"/>
                    <a:pt x="737871" y="101600"/>
                    <a:pt x="737236" y="99060"/>
                  </a:cubicBezTo>
                  <a:cubicBezTo>
                    <a:pt x="736600" y="96520"/>
                    <a:pt x="735966" y="93345"/>
                    <a:pt x="735966" y="89535"/>
                  </a:cubicBezTo>
                  <a:lnTo>
                    <a:pt x="735966" y="44450"/>
                  </a:lnTo>
                  <a:lnTo>
                    <a:pt x="725171" y="44450"/>
                  </a:lnTo>
                  <a:lnTo>
                    <a:pt x="725171" y="30480"/>
                  </a:lnTo>
                  <a:lnTo>
                    <a:pt x="735966" y="30480"/>
                  </a:lnTo>
                  <a:lnTo>
                    <a:pt x="735966" y="8255"/>
                  </a:lnTo>
                  <a:close/>
                  <a:moveTo>
                    <a:pt x="521335" y="0"/>
                  </a:moveTo>
                  <a:lnTo>
                    <a:pt x="521335" y="30480"/>
                  </a:lnTo>
                  <a:lnTo>
                    <a:pt x="540385" y="30480"/>
                  </a:lnTo>
                  <a:lnTo>
                    <a:pt x="540385" y="44450"/>
                  </a:lnTo>
                  <a:lnTo>
                    <a:pt x="521335" y="44450"/>
                  </a:lnTo>
                  <a:lnTo>
                    <a:pt x="521335" y="86995"/>
                  </a:lnTo>
                  <a:cubicBezTo>
                    <a:pt x="521335" y="86995"/>
                    <a:pt x="521335" y="90170"/>
                    <a:pt x="521335" y="91440"/>
                  </a:cubicBezTo>
                  <a:cubicBezTo>
                    <a:pt x="521335" y="92710"/>
                    <a:pt x="521970" y="93345"/>
                    <a:pt x="522605" y="94615"/>
                  </a:cubicBezTo>
                  <a:cubicBezTo>
                    <a:pt x="523240" y="95250"/>
                    <a:pt x="523875" y="95885"/>
                    <a:pt x="525145" y="95885"/>
                  </a:cubicBezTo>
                  <a:cubicBezTo>
                    <a:pt x="526415" y="95885"/>
                    <a:pt x="527685" y="95885"/>
                    <a:pt x="528955" y="95885"/>
                  </a:cubicBezTo>
                  <a:cubicBezTo>
                    <a:pt x="530860" y="95885"/>
                    <a:pt x="532765" y="95885"/>
                    <a:pt x="535305" y="95250"/>
                  </a:cubicBezTo>
                  <a:cubicBezTo>
                    <a:pt x="537210" y="94615"/>
                    <a:pt x="539115" y="93980"/>
                    <a:pt x="540385" y="93345"/>
                  </a:cubicBezTo>
                  <a:lnTo>
                    <a:pt x="538480" y="106680"/>
                  </a:lnTo>
                  <a:cubicBezTo>
                    <a:pt x="538480" y="106680"/>
                    <a:pt x="534670" y="108585"/>
                    <a:pt x="532130" y="109220"/>
                  </a:cubicBezTo>
                  <a:cubicBezTo>
                    <a:pt x="529590" y="109855"/>
                    <a:pt x="527050" y="110490"/>
                    <a:pt x="523875" y="110490"/>
                  </a:cubicBezTo>
                  <a:cubicBezTo>
                    <a:pt x="521335" y="110490"/>
                    <a:pt x="518795" y="110490"/>
                    <a:pt x="516890" y="109220"/>
                  </a:cubicBezTo>
                  <a:cubicBezTo>
                    <a:pt x="514985" y="108585"/>
                    <a:pt x="513080" y="107315"/>
                    <a:pt x="511175" y="105410"/>
                  </a:cubicBezTo>
                  <a:cubicBezTo>
                    <a:pt x="509270" y="103505"/>
                    <a:pt x="508000" y="101600"/>
                    <a:pt x="507365" y="99060"/>
                  </a:cubicBezTo>
                  <a:cubicBezTo>
                    <a:pt x="506730" y="96520"/>
                    <a:pt x="506095" y="93345"/>
                    <a:pt x="506095" y="89535"/>
                  </a:cubicBezTo>
                  <a:lnTo>
                    <a:pt x="506095" y="44450"/>
                  </a:lnTo>
                  <a:lnTo>
                    <a:pt x="495300" y="44450"/>
                  </a:lnTo>
                  <a:lnTo>
                    <a:pt x="495300" y="30480"/>
                  </a:lnTo>
                  <a:lnTo>
                    <a:pt x="506095" y="30480"/>
                  </a:lnTo>
                  <a:lnTo>
                    <a:pt x="506095" y="8255"/>
                  </a:lnTo>
                  <a:close/>
                  <a:moveTo>
                    <a:pt x="466724" y="0"/>
                  </a:moveTo>
                  <a:lnTo>
                    <a:pt x="466724" y="30480"/>
                  </a:lnTo>
                  <a:lnTo>
                    <a:pt x="485774" y="30480"/>
                  </a:lnTo>
                  <a:lnTo>
                    <a:pt x="485774" y="44450"/>
                  </a:lnTo>
                  <a:lnTo>
                    <a:pt x="466724" y="44450"/>
                  </a:lnTo>
                  <a:lnTo>
                    <a:pt x="466724" y="86995"/>
                  </a:lnTo>
                  <a:cubicBezTo>
                    <a:pt x="466724" y="86995"/>
                    <a:pt x="466724" y="90170"/>
                    <a:pt x="466724" y="91440"/>
                  </a:cubicBezTo>
                  <a:cubicBezTo>
                    <a:pt x="466724" y="92710"/>
                    <a:pt x="467359" y="93345"/>
                    <a:pt x="467994" y="94615"/>
                  </a:cubicBezTo>
                  <a:cubicBezTo>
                    <a:pt x="468629" y="95250"/>
                    <a:pt x="469264" y="95885"/>
                    <a:pt x="470534" y="95885"/>
                  </a:cubicBezTo>
                  <a:cubicBezTo>
                    <a:pt x="471804" y="95885"/>
                    <a:pt x="473074" y="95885"/>
                    <a:pt x="474344" y="95885"/>
                  </a:cubicBezTo>
                  <a:cubicBezTo>
                    <a:pt x="476249" y="95885"/>
                    <a:pt x="478154" y="95885"/>
                    <a:pt x="480694" y="95250"/>
                  </a:cubicBezTo>
                  <a:cubicBezTo>
                    <a:pt x="482599" y="94615"/>
                    <a:pt x="484504" y="93980"/>
                    <a:pt x="485774" y="93345"/>
                  </a:cubicBezTo>
                  <a:lnTo>
                    <a:pt x="483869" y="106680"/>
                  </a:lnTo>
                  <a:cubicBezTo>
                    <a:pt x="483869" y="106680"/>
                    <a:pt x="480059" y="108585"/>
                    <a:pt x="477519" y="109220"/>
                  </a:cubicBezTo>
                  <a:cubicBezTo>
                    <a:pt x="474979" y="109855"/>
                    <a:pt x="472439" y="110490"/>
                    <a:pt x="469264" y="110490"/>
                  </a:cubicBezTo>
                  <a:cubicBezTo>
                    <a:pt x="466724" y="110490"/>
                    <a:pt x="464184" y="110490"/>
                    <a:pt x="462279" y="109220"/>
                  </a:cubicBezTo>
                  <a:cubicBezTo>
                    <a:pt x="460374" y="108585"/>
                    <a:pt x="458469" y="107315"/>
                    <a:pt x="456564" y="105410"/>
                  </a:cubicBezTo>
                  <a:cubicBezTo>
                    <a:pt x="454659" y="103505"/>
                    <a:pt x="453389" y="101600"/>
                    <a:pt x="452754" y="99060"/>
                  </a:cubicBezTo>
                  <a:cubicBezTo>
                    <a:pt x="452119" y="96520"/>
                    <a:pt x="451484" y="93345"/>
                    <a:pt x="451484" y="89535"/>
                  </a:cubicBezTo>
                  <a:lnTo>
                    <a:pt x="451484" y="44450"/>
                  </a:lnTo>
                  <a:lnTo>
                    <a:pt x="440689" y="44450"/>
                  </a:lnTo>
                  <a:lnTo>
                    <a:pt x="440689" y="30480"/>
                  </a:lnTo>
                  <a:lnTo>
                    <a:pt x="451484" y="30480"/>
                  </a:lnTo>
                  <a:lnTo>
                    <a:pt x="451484" y="8255"/>
                  </a:lnTo>
                  <a:close/>
                  <a:moveTo>
                    <a:pt x="302259" y="0"/>
                  </a:moveTo>
                  <a:lnTo>
                    <a:pt x="302259" y="37465"/>
                  </a:lnTo>
                  <a:cubicBezTo>
                    <a:pt x="302259" y="37465"/>
                    <a:pt x="305434" y="34925"/>
                    <a:pt x="306704" y="33655"/>
                  </a:cubicBezTo>
                  <a:cubicBezTo>
                    <a:pt x="307974" y="33020"/>
                    <a:pt x="309244" y="31750"/>
                    <a:pt x="310514" y="31115"/>
                  </a:cubicBezTo>
                  <a:cubicBezTo>
                    <a:pt x="311784" y="30480"/>
                    <a:pt x="313689" y="29845"/>
                    <a:pt x="315594" y="29210"/>
                  </a:cubicBezTo>
                  <a:cubicBezTo>
                    <a:pt x="317499" y="29210"/>
                    <a:pt x="320039" y="28575"/>
                    <a:pt x="322579" y="28575"/>
                  </a:cubicBezTo>
                  <a:cubicBezTo>
                    <a:pt x="327024" y="28575"/>
                    <a:pt x="330834" y="29210"/>
                    <a:pt x="334644" y="31115"/>
                  </a:cubicBezTo>
                  <a:cubicBezTo>
                    <a:pt x="338454" y="32385"/>
                    <a:pt x="341629" y="34925"/>
                    <a:pt x="344169" y="38735"/>
                  </a:cubicBezTo>
                  <a:cubicBezTo>
                    <a:pt x="346709" y="41910"/>
                    <a:pt x="349249" y="46355"/>
                    <a:pt x="350519" y="51435"/>
                  </a:cubicBezTo>
                  <a:cubicBezTo>
                    <a:pt x="351789" y="56515"/>
                    <a:pt x="353059" y="62865"/>
                    <a:pt x="353059" y="70485"/>
                  </a:cubicBezTo>
                  <a:lnTo>
                    <a:pt x="352424" y="71120"/>
                  </a:lnTo>
                  <a:cubicBezTo>
                    <a:pt x="352424" y="77470"/>
                    <a:pt x="351789" y="83820"/>
                    <a:pt x="349884" y="88265"/>
                  </a:cubicBezTo>
                  <a:cubicBezTo>
                    <a:pt x="347979" y="93345"/>
                    <a:pt x="346074" y="97155"/>
                    <a:pt x="342899" y="100330"/>
                  </a:cubicBezTo>
                  <a:cubicBezTo>
                    <a:pt x="340359" y="103505"/>
                    <a:pt x="336549" y="106045"/>
                    <a:pt x="333374" y="107315"/>
                  </a:cubicBezTo>
                  <a:cubicBezTo>
                    <a:pt x="329564" y="109220"/>
                    <a:pt x="325754" y="109855"/>
                    <a:pt x="321944" y="109855"/>
                  </a:cubicBezTo>
                  <a:cubicBezTo>
                    <a:pt x="318134" y="109855"/>
                    <a:pt x="314324" y="109220"/>
                    <a:pt x="311149" y="107315"/>
                  </a:cubicBezTo>
                  <a:cubicBezTo>
                    <a:pt x="307339" y="105410"/>
                    <a:pt x="304799" y="103505"/>
                    <a:pt x="302259" y="100965"/>
                  </a:cubicBezTo>
                  <a:lnTo>
                    <a:pt x="302259" y="107950"/>
                  </a:lnTo>
                  <a:lnTo>
                    <a:pt x="287019" y="107950"/>
                  </a:lnTo>
                  <a:lnTo>
                    <a:pt x="287019" y="7620"/>
                  </a:lnTo>
                  <a:close/>
                </a:path>
              </a:pathLst>
            </a:custGeom>
            <a:solidFill>
              <a:srgbClr val="FFFFFF"/>
            </a:solidFill>
            <a:ln w="63500" cap="flat">
              <a:noFill/>
              <a:prstDash val="solid"/>
              <a:miter/>
            </a:ln>
          </p:spPr>
          <p:txBody>
            <a:bodyPr rtlCol="0" anchor="ctr"/>
            <a:lstStyle/>
            <a:p>
              <a:endParaRPr lang="en-US"/>
            </a:p>
          </p:txBody>
        </p:sp>
      </p:grpSp>
      <p:sp>
        <p:nvSpPr>
          <p:cNvPr id="28" name="Subtitle 2">
            <a:extLst>
              <a:ext uri="{FF2B5EF4-FFF2-40B4-BE49-F238E27FC236}">
                <a16:creationId xmlns:a16="http://schemas.microsoft.com/office/drawing/2014/main" id="{632E76BF-46D5-8E94-88AA-4783DD302E89}"/>
              </a:ext>
            </a:extLst>
          </p:cNvPr>
          <p:cNvSpPr>
            <a:spLocks noGrp="1"/>
          </p:cNvSpPr>
          <p:nvPr>
            <p:ph type="subTitle" idx="1" hasCustomPrompt="1"/>
          </p:nvPr>
        </p:nvSpPr>
        <p:spPr>
          <a:xfrm>
            <a:off x="889762" y="4436485"/>
            <a:ext cx="4907628" cy="511939"/>
          </a:xfrm>
        </p:spPr>
        <p:txBody>
          <a:bodyPr wrap="square">
            <a:noAutofit/>
          </a:bodyPr>
          <a:lstStyle>
            <a:lvl1pPr marL="0" indent="0" algn="l">
              <a:buNone/>
              <a:defRPr lang="en-GB" sz="1600" kern="1200" dirty="0">
                <a:solidFill>
                  <a:schemeClr val="bg1"/>
                </a:solidFill>
                <a:latin typeface="EYInterstate" panose="02000503020000020004" pitchFamily="2" charset="0"/>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endParaRPr lang="en-US" dirty="0"/>
          </a:p>
        </p:txBody>
      </p:sp>
      <p:sp>
        <p:nvSpPr>
          <p:cNvPr id="29" name="Title 4">
            <a:extLst>
              <a:ext uri="{FF2B5EF4-FFF2-40B4-BE49-F238E27FC236}">
                <a16:creationId xmlns:a16="http://schemas.microsoft.com/office/drawing/2014/main" id="{1F7B1FDC-B90E-6693-A750-B9BA4B535E8A}"/>
              </a:ext>
            </a:extLst>
          </p:cNvPr>
          <p:cNvSpPr>
            <a:spLocks noGrp="1"/>
          </p:cNvSpPr>
          <p:nvPr>
            <p:ph type="title"/>
          </p:nvPr>
        </p:nvSpPr>
        <p:spPr>
          <a:xfrm>
            <a:off x="889762" y="2698751"/>
            <a:ext cx="4906009" cy="1654043"/>
          </a:xfrm>
        </p:spPr>
        <p:txBody>
          <a:bodyPr anchor="t">
            <a:noAutofit/>
          </a:bodyPr>
          <a:lstStyle>
            <a:lvl1pPr>
              <a:defRPr sz="4200" b="1" i="0">
                <a:solidFill>
                  <a:schemeClr val="bg1"/>
                </a:solidFill>
                <a:latin typeface="EYInterstate" panose="02000503020000020004" pitchFamily="2" charset="0"/>
              </a:defRPr>
            </a:lvl1pPr>
          </a:lstStyle>
          <a:p>
            <a:r>
              <a:rPr lang="en-GB" dirty="0"/>
              <a:t>Click to edit Master title style</a:t>
            </a:r>
            <a:endParaRPr lang="en-US" dirty="0"/>
          </a:p>
        </p:txBody>
      </p:sp>
      <p:sp>
        <p:nvSpPr>
          <p:cNvPr id="30" name="Text Placeholder 288">
            <a:extLst>
              <a:ext uri="{FF2B5EF4-FFF2-40B4-BE49-F238E27FC236}">
                <a16:creationId xmlns:a16="http://schemas.microsoft.com/office/drawing/2014/main" id="{1673B89D-F206-B9D2-CDB7-BDE045C7447F}"/>
              </a:ext>
            </a:extLst>
          </p:cNvPr>
          <p:cNvSpPr>
            <a:spLocks noGrp="1"/>
          </p:cNvSpPr>
          <p:nvPr>
            <p:ph type="body" sz="quarter" idx="10"/>
          </p:nvPr>
        </p:nvSpPr>
        <p:spPr>
          <a:xfrm>
            <a:off x="889762" y="5047485"/>
            <a:ext cx="4906010" cy="246221"/>
          </a:xfrm>
        </p:spPr>
        <p:txBody>
          <a:bodyPr wrap="square">
            <a:spAutoFit/>
          </a:bodyPr>
          <a:lstStyle>
            <a:lvl1pPr marL="0" indent="0">
              <a:buNone/>
              <a:defRPr sz="1600" b="1">
                <a:latin typeface="EYInterstate" panose="02000503020000020004" pitchFamily="2" charset="0"/>
              </a:defRPr>
            </a:lvl1pPr>
            <a:lvl2pPr marL="252000" indent="0">
              <a:buNone/>
              <a:defRPr sz="1600" b="1">
                <a:latin typeface="+mj-lt"/>
              </a:defRPr>
            </a:lvl2pPr>
            <a:lvl3pPr marL="504000" indent="0">
              <a:buNone/>
              <a:defRPr sz="1600" b="1">
                <a:latin typeface="+mj-lt"/>
              </a:defRPr>
            </a:lvl3pPr>
            <a:lvl4pPr marL="756000" indent="0">
              <a:buNone/>
              <a:defRPr sz="1600" b="1">
                <a:latin typeface="+mj-lt"/>
              </a:defRPr>
            </a:lvl4pPr>
            <a:lvl5pPr marL="1008000" indent="0">
              <a:buNone/>
              <a:defRPr sz="1600" b="1">
                <a:latin typeface="+mj-lt"/>
              </a:defRPr>
            </a:lvl5pPr>
          </a:lstStyle>
          <a:p>
            <a:pPr lvl="0"/>
            <a:r>
              <a:rPr lang="en-GB" dirty="0"/>
              <a:t>Click to edit Master text styles</a:t>
            </a:r>
          </a:p>
        </p:txBody>
      </p:sp>
      <p:grpSp>
        <p:nvGrpSpPr>
          <p:cNvPr id="2" name="Group 1">
            <a:extLst>
              <a:ext uri="{FF2B5EF4-FFF2-40B4-BE49-F238E27FC236}">
                <a16:creationId xmlns:a16="http://schemas.microsoft.com/office/drawing/2014/main" id="{E76002E9-E0C8-43F6-867E-B59C9AE9217B}"/>
              </a:ext>
            </a:extLst>
          </p:cNvPr>
          <p:cNvGrpSpPr/>
          <p:nvPr userDrawn="1"/>
        </p:nvGrpSpPr>
        <p:grpSpPr>
          <a:xfrm>
            <a:off x="485774" y="1291008"/>
            <a:ext cx="5706110" cy="4360545"/>
            <a:chOff x="485774" y="1291008"/>
            <a:chExt cx="5706110" cy="4360545"/>
          </a:xfrm>
        </p:grpSpPr>
        <p:sp>
          <p:nvSpPr>
            <p:cNvPr id="26" name="Freeform 25">
              <a:extLst>
                <a:ext uri="{FF2B5EF4-FFF2-40B4-BE49-F238E27FC236}">
                  <a16:creationId xmlns:a16="http://schemas.microsoft.com/office/drawing/2014/main" id="{F7E50E80-DFF0-E065-898F-1AFD970459B6}"/>
                </a:ext>
              </a:extLst>
            </p:cNvPr>
            <p:cNvSpPr/>
            <p:nvPr userDrawn="1"/>
          </p:nvSpPr>
          <p:spPr>
            <a:xfrm>
              <a:off x="485774" y="5549953"/>
              <a:ext cx="508000" cy="101600"/>
            </a:xfrm>
            <a:custGeom>
              <a:avLst/>
              <a:gdLst>
                <a:gd name="connsiteX0" fmla="*/ 406400 w 508000"/>
                <a:gd name="connsiteY0" fmla="*/ 0 h 101600"/>
                <a:gd name="connsiteX1" fmla="*/ 508000 w 508000"/>
                <a:gd name="connsiteY1" fmla="*/ 0 h 101600"/>
                <a:gd name="connsiteX2" fmla="*/ 508000 w 508000"/>
                <a:gd name="connsiteY2" fmla="*/ 101600 h 101600"/>
                <a:gd name="connsiteX3" fmla="*/ 406400 w 508000"/>
                <a:gd name="connsiteY3" fmla="*/ 101600 h 101600"/>
                <a:gd name="connsiteX4" fmla="*/ 203200 w 508000"/>
                <a:gd name="connsiteY4" fmla="*/ 0 h 101600"/>
                <a:gd name="connsiteX5" fmla="*/ 304800 w 508000"/>
                <a:gd name="connsiteY5" fmla="*/ 0 h 101600"/>
                <a:gd name="connsiteX6" fmla="*/ 304800 w 508000"/>
                <a:gd name="connsiteY6" fmla="*/ 101600 h 101600"/>
                <a:gd name="connsiteX7" fmla="*/ 203200 w 508000"/>
                <a:gd name="connsiteY7" fmla="*/ 101600 h 101600"/>
                <a:gd name="connsiteX8" fmla="*/ 0 w 508000"/>
                <a:gd name="connsiteY8" fmla="*/ 0 h 101600"/>
                <a:gd name="connsiteX9" fmla="*/ 101600 w 508000"/>
                <a:gd name="connsiteY9" fmla="*/ 0 h 101600"/>
                <a:gd name="connsiteX10" fmla="*/ 101600 w 508000"/>
                <a:gd name="connsiteY10" fmla="*/ 101600 h 101600"/>
                <a:gd name="connsiteX11" fmla="*/ 0 w 508000"/>
                <a:gd name="connsiteY11" fmla="*/ 101600 h 10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08000" h="101600">
                  <a:moveTo>
                    <a:pt x="406400" y="0"/>
                  </a:moveTo>
                  <a:lnTo>
                    <a:pt x="508000" y="0"/>
                  </a:lnTo>
                  <a:lnTo>
                    <a:pt x="508000" y="101600"/>
                  </a:lnTo>
                  <a:lnTo>
                    <a:pt x="406400" y="101600"/>
                  </a:lnTo>
                  <a:close/>
                  <a:moveTo>
                    <a:pt x="203200" y="0"/>
                  </a:moveTo>
                  <a:lnTo>
                    <a:pt x="304800" y="0"/>
                  </a:lnTo>
                  <a:lnTo>
                    <a:pt x="304800" y="101600"/>
                  </a:lnTo>
                  <a:lnTo>
                    <a:pt x="203200" y="101600"/>
                  </a:lnTo>
                  <a:close/>
                  <a:moveTo>
                    <a:pt x="0" y="0"/>
                  </a:moveTo>
                  <a:lnTo>
                    <a:pt x="101600" y="0"/>
                  </a:lnTo>
                  <a:lnTo>
                    <a:pt x="101600" y="101600"/>
                  </a:lnTo>
                  <a:lnTo>
                    <a:pt x="0" y="101600"/>
                  </a:lnTo>
                  <a:close/>
                </a:path>
              </a:pathLst>
            </a:custGeom>
            <a:solidFill>
              <a:schemeClr val="tx2"/>
            </a:solidFill>
            <a:ln w="63500" cap="flat">
              <a:noFill/>
              <a:prstDash val="solid"/>
              <a:miter/>
            </a:ln>
          </p:spPr>
          <p:txBody>
            <a:bodyPr rtlCol="0" anchor="ctr"/>
            <a:lstStyle/>
            <a:p>
              <a:endParaRPr lang="en-US"/>
            </a:p>
          </p:txBody>
        </p:sp>
        <p:sp>
          <p:nvSpPr>
            <p:cNvPr id="4" name="Freeform 3">
              <a:extLst>
                <a:ext uri="{FF2B5EF4-FFF2-40B4-BE49-F238E27FC236}">
                  <a16:creationId xmlns:a16="http://schemas.microsoft.com/office/drawing/2014/main" id="{7E9D0337-F340-664F-6A13-B03AA4BA4F82}"/>
                </a:ext>
              </a:extLst>
            </p:cNvPr>
            <p:cNvSpPr/>
            <p:nvPr userDrawn="1"/>
          </p:nvSpPr>
          <p:spPr>
            <a:xfrm>
              <a:off x="485775" y="1291008"/>
              <a:ext cx="5706109" cy="4359275"/>
            </a:xfrm>
            <a:custGeom>
              <a:avLst/>
              <a:gdLst>
                <a:gd name="connsiteX0" fmla="*/ 0 w 5706109"/>
                <a:gd name="connsiteY0" fmla="*/ 4157346 h 4359275"/>
                <a:gd name="connsiteX1" fmla="*/ 101600 w 5706109"/>
                <a:gd name="connsiteY1" fmla="*/ 4157346 h 4359275"/>
                <a:gd name="connsiteX2" fmla="*/ 101600 w 5706109"/>
                <a:gd name="connsiteY2" fmla="*/ 1075055 h 4359275"/>
                <a:gd name="connsiteX3" fmla="*/ 101600 w 5706109"/>
                <a:gd name="connsiteY3" fmla="*/ 1075055 h 4359275"/>
                <a:gd name="connsiteX4" fmla="*/ 191770 w 5706109"/>
                <a:gd name="connsiteY4" fmla="*/ 1059180 h 4359275"/>
                <a:gd name="connsiteX5" fmla="*/ 861060 w 5706109"/>
                <a:gd name="connsiteY5" fmla="*/ 942975 h 4359275"/>
                <a:gd name="connsiteX6" fmla="*/ 1195705 w 5706109"/>
                <a:gd name="connsiteY6" fmla="*/ 885190 h 4359275"/>
                <a:gd name="connsiteX7" fmla="*/ 1362710 w 5706109"/>
                <a:gd name="connsiteY7" fmla="*/ 855980 h 4359275"/>
                <a:gd name="connsiteX8" fmla="*/ 1529715 w 5706109"/>
                <a:gd name="connsiteY8" fmla="*/ 826770 h 4359275"/>
                <a:gd name="connsiteX9" fmla="*/ 1864360 w 5706109"/>
                <a:gd name="connsiteY9" fmla="*/ 768985 h 4359275"/>
                <a:gd name="connsiteX10" fmla="*/ 2031365 w 5706109"/>
                <a:gd name="connsiteY10" fmla="*/ 739775 h 4359275"/>
                <a:gd name="connsiteX11" fmla="*/ 2198370 w 5706109"/>
                <a:gd name="connsiteY11" fmla="*/ 710565 h 4359275"/>
                <a:gd name="connsiteX12" fmla="*/ 2365375 w 5706109"/>
                <a:gd name="connsiteY12" fmla="*/ 681355 h 4359275"/>
                <a:gd name="connsiteX13" fmla="*/ 2532380 w 5706109"/>
                <a:gd name="connsiteY13" fmla="*/ 652145 h 4359275"/>
                <a:gd name="connsiteX14" fmla="*/ 2699385 w 5706109"/>
                <a:gd name="connsiteY14" fmla="*/ 622935 h 4359275"/>
                <a:gd name="connsiteX15" fmla="*/ 2866390 w 5706109"/>
                <a:gd name="connsiteY15" fmla="*/ 593725 h 4359275"/>
                <a:gd name="connsiteX16" fmla="*/ 5461000 w 5706109"/>
                <a:gd name="connsiteY16" fmla="*/ 144145 h 4359275"/>
                <a:gd name="connsiteX17" fmla="*/ 5602605 w 5706109"/>
                <a:gd name="connsiteY17" fmla="*/ 119380 h 4359275"/>
                <a:gd name="connsiteX18" fmla="*/ 5602605 w 5706109"/>
                <a:gd name="connsiteY18" fmla="*/ 119380 h 4359275"/>
                <a:gd name="connsiteX19" fmla="*/ 5602605 w 5706109"/>
                <a:gd name="connsiteY19" fmla="*/ 4257676 h 4359275"/>
                <a:gd name="connsiteX20" fmla="*/ 609600 w 5706109"/>
                <a:gd name="connsiteY20" fmla="*/ 4257676 h 4359275"/>
                <a:gd name="connsiteX21" fmla="*/ 609600 w 5706109"/>
                <a:gd name="connsiteY21" fmla="*/ 4359276 h 4359275"/>
                <a:gd name="connsiteX22" fmla="*/ 5706110 w 5706109"/>
                <a:gd name="connsiteY22" fmla="*/ 4359276 h 4359275"/>
                <a:gd name="connsiteX23" fmla="*/ 5706110 w 5706109"/>
                <a:gd name="connsiteY23" fmla="*/ 0 h 4359275"/>
                <a:gd name="connsiteX24" fmla="*/ 5704840 w 5706109"/>
                <a:gd name="connsiteY24" fmla="*/ 0 h 4359275"/>
                <a:gd name="connsiteX25" fmla="*/ 5445760 w 5706109"/>
                <a:gd name="connsiteY25" fmla="*/ 45085 h 4359275"/>
                <a:gd name="connsiteX26" fmla="*/ 2851150 w 5706109"/>
                <a:gd name="connsiteY26" fmla="*/ 494665 h 4359275"/>
                <a:gd name="connsiteX27" fmla="*/ 2684145 w 5706109"/>
                <a:gd name="connsiteY27" fmla="*/ 523875 h 4359275"/>
                <a:gd name="connsiteX28" fmla="*/ 2517140 w 5706109"/>
                <a:gd name="connsiteY28" fmla="*/ 553085 h 4359275"/>
                <a:gd name="connsiteX29" fmla="*/ 2350135 w 5706109"/>
                <a:gd name="connsiteY29" fmla="*/ 582295 h 4359275"/>
                <a:gd name="connsiteX30" fmla="*/ 2183130 w 5706109"/>
                <a:gd name="connsiteY30" fmla="*/ 611505 h 4359275"/>
                <a:gd name="connsiteX31" fmla="*/ 2016125 w 5706109"/>
                <a:gd name="connsiteY31" fmla="*/ 640715 h 4359275"/>
                <a:gd name="connsiteX32" fmla="*/ 1849120 w 5706109"/>
                <a:gd name="connsiteY32" fmla="*/ 669925 h 4359275"/>
                <a:gd name="connsiteX33" fmla="*/ 1514475 w 5706109"/>
                <a:gd name="connsiteY33" fmla="*/ 727710 h 4359275"/>
                <a:gd name="connsiteX34" fmla="*/ 1347470 w 5706109"/>
                <a:gd name="connsiteY34" fmla="*/ 756920 h 4359275"/>
                <a:gd name="connsiteX35" fmla="*/ 1180465 w 5706109"/>
                <a:gd name="connsiteY35" fmla="*/ 786130 h 4359275"/>
                <a:gd name="connsiteX36" fmla="*/ 845820 w 5706109"/>
                <a:gd name="connsiteY36" fmla="*/ 843915 h 4359275"/>
                <a:gd name="connsiteX37" fmla="*/ 176530 w 5706109"/>
                <a:gd name="connsiteY37" fmla="*/ 960120 h 4359275"/>
                <a:gd name="connsiteX38" fmla="*/ 3175 w 5706109"/>
                <a:gd name="connsiteY38" fmla="*/ 989965 h 4359275"/>
                <a:gd name="connsiteX39" fmla="*/ 1905 w 5706109"/>
                <a:gd name="connsiteY39" fmla="*/ 989965 h 4359275"/>
                <a:gd name="connsiteX40" fmla="*/ 1905 w 5706109"/>
                <a:gd name="connsiteY40" fmla="*/ 4158616 h 435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5706109" h="4359275">
                  <a:moveTo>
                    <a:pt x="0" y="4157346"/>
                  </a:moveTo>
                  <a:lnTo>
                    <a:pt x="101600" y="4157346"/>
                  </a:lnTo>
                  <a:lnTo>
                    <a:pt x="101600" y="1075055"/>
                  </a:lnTo>
                  <a:lnTo>
                    <a:pt x="101600" y="1075055"/>
                  </a:lnTo>
                  <a:lnTo>
                    <a:pt x="191770" y="1059180"/>
                  </a:lnTo>
                  <a:lnTo>
                    <a:pt x="861060" y="942975"/>
                  </a:lnTo>
                  <a:lnTo>
                    <a:pt x="1195705" y="885190"/>
                  </a:lnTo>
                  <a:lnTo>
                    <a:pt x="1362710" y="855980"/>
                  </a:lnTo>
                  <a:lnTo>
                    <a:pt x="1529715" y="826770"/>
                  </a:lnTo>
                  <a:lnTo>
                    <a:pt x="1864360" y="768985"/>
                  </a:lnTo>
                  <a:lnTo>
                    <a:pt x="2031365" y="739775"/>
                  </a:lnTo>
                  <a:lnTo>
                    <a:pt x="2198370" y="710565"/>
                  </a:lnTo>
                  <a:lnTo>
                    <a:pt x="2365375" y="681355"/>
                  </a:lnTo>
                  <a:lnTo>
                    <a:pt x="2532380" y="652145"/>
                  </a:lnTo>
                  <a:lnTo>
                    <a:pt x="2699385" y="622935"/>
                  </a:lnTo>
                  <a:lnTo>
                    <a:pt x="2866390" y="593725"/>
                  </a:lnTo>
                  <a:cubicBezTo>
                    <a:pt x="3731260" y="443865"/>
                    <a:pt x="4596130" y="294005"/>
                    <a:pt x="5461000" y="144145"/>
                  </a:cubicBezTo>
                  <a:lnTo>
                    <a:pt x="5602605" y="119380"/>
                  </a:lnTo>
                  <a:lnTo>
                    <a:pt x="5602605" y="119380"/>
                  </a:lnTo>
                  <a:lnTo>
                    <a:pt x="5602605" y="4257676"/>
                  </a:lnTo>
                  <a:lnTo>
                    <a:pt x="609600" y="4257676"/>
                  </a:lnTo>
                  <a:lnTo>
                    <a:pt x="609600" y="4359276"/>
                  </a:lnTo>
                  <a:lnTo>
                    <a:pt x="5706110" y="4359276"/>
                  </a:lnTo>
                  <a:lnTo>
                    <a:pt x="5706110" y="0"/>
                  </a:lnTo>
                  <a:lnTo>
                    <a:pt x="5704840" y="0"/>
                  </a:lnTo>
                  <a:cubicBezTo>
                    <a:pt x="5618480" y="15240"/>
                    <a:pt x="5532120" y="30480"/>
                    <a:pt x="5445760" y="45085"/>
                  </a:cubicBezTo>
                  <a:cubicBezTo>
                    <a:pt x="4580890" y="194945"/>
                    <a:pt x="3716020" y="344805"/>
                    <a:pt x="2851150" y="494665"/>
                  </a:cubicBezTo>
                  <a:lnTo>
                    <a:pt x="2684145" y="523875"/>
                  </a:lnTo>
                  <a:lnTo>
                    <a:pt x="2517140" y="553085"/>
                  </a:lnTo>
                  <a:lnTo>
                    <a:pt x="2350135" y="582295"/>
                  </a:lnTo>
                  <a:lnTo>
                    <a:pt x="2183130" y="611505"/>
                  </a:lnTo>
                  <a:lnTo>
                    <a:pt x="2016125" y="640715"/>
                  </a:lnTo>
                  <a:lnTo>
                    <a:pt x="1849120" y="669925"/>
                  </a:lnTo>
                  <a:lnTo>
                    <a:pt x="1514475" y="727710"/>
                  </a:lnTo>
                  <a:lnTo>
                    <a:pt x="1347470" y="756920"/>
                  </a:lnTo>
                  <a:lnTo>
                    <a:pt x="1180465" y="786130"/>
                  </a:lnTo>
                  <a:lnTo>
                    <a:pt x="845820" y="843915"/>
                  </a:lnTo>
                  <a:lnTo>
                    <a:pt x="176530" y="960120"/>
                  </a:lnTo>
                  <a:lnTo>
                    <a:pt x="3175" y="989965"/>
                  </a:lnTo>
                  <a:lnTo>
                    <a:pt x="1905" y="989965"/>
                  </a:lnTo>
                  <a:lnTo>
                    <a:pt x="1905" y="4158616"/>
                  </a:lnTo>
                  <a:close/>
                </a:path>
              </a:pathLst>
            </a:custGeom>
            <a:gradFill flip="none" rotWithShape="1">
              <a:gsLst>
                <a:gs pos="46000">
                  <a:srgbClr val="FFE600"/>
                </a:gs>
                <a:gs pos="66000">
                  <a:srgbClr val="00C864"/>
                </a:gs>
                <a:gs pos="100000">
                  <a:srgbClr val="4696FF"/>
                </a:gs>
              </a:gsLst>
              <a:lin ang="18600000" scaled="0"/>
              <a:tileRect/>
            </a:gradFill>
            <a:ln w="8181" cap="flat">
              <a:noFill/>
              <a:prstDash val="solid"/>
              <a:miter/>
            </a:ln>
          </p:spPr>
          <p:txBody>
            <a:bodyPr rtlCol="0" anchor="ctr"/>
            <a:lstStyle/>
            <a:p>
              <a:pPr lvl="0"/>
              <a:endParaRPr lang="en-US" dirty="0"/>
            </a:p>
          </p:txBody>
        </p:sp>
      </p:grpSp>
    </p:spTree>
    <p:extLst>
      <p:ext uri="{BB962C8B-B14F-4D97-AF65-F5344CB8AC3E}">
        <p14:creationId xmlns:p14="http://schemas.microsoft.com/office/powerpoint/2010/main" val="940188404"/>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image" Target="../media/image9.png"/><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image" Target="../media/image1.emf"/><Relationship Id="rId2" Type="http://schemas.openxmlformats.org/officeDocument/2006/relationships/slideLayout" Target="../slideLayouts/slideLayout42.xml"/><Relationship Id="rId16" Type="http://schemas.openxmlformats.org/officeDocument/2006/relationships/oleObject" Target="../embeddings/oleObject2.bin"/><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tags" Target="../tags/tag3.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6.xml"/><Relationship Id="rId7" Type="http://schemas.openxmlformats.org/officeDocument/2006/relationships/image" Target="../media/image1.emf"/><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0A050459-5091-F5DB-3D52-D18F887822A7}"/>
              </a:ext>
            </a:extLst>
          </p:cNvPr>
          <p:cNvGraphicFramePr>
            <a:graphicFrameLocks noChangeAspect="1"/>
          </p:cNvGraphicFramePr>
          <p:nvPr userDrawn="1">
            <p:custDataLst>
              <p:tags r:id="rId42"/>
            </p:custDataLst>
            <p:extLst>
              <p:ext uri="{D42A27DB-BD31-4B8C-83A1-F6EECF244321}">
                <p14:modId xmlns:p14="http://schemas.microsoft.com/office/powerpoint/2010/main" val="3867575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395" imgH="396" progId="TCLayout.ActiveDocument.1">
                  <p:embed/>
                </p:oleObj>
              </mc:Choice>
              <mc:Fallback>
                <p:oleObj name="think-cell Slide" r:id="rId43" imgW="395" imgH="396" progId="TCLayout.ActiveDocument.1">
                  <p:embed/>
                  <p:pic>
                    <p:nvPicPr>
                      <p:cNvPr id="14" name="think-cell data - do not delete" hidden="1">
                        <a:extLst>
                          <a:ext uri="{FF2B5EF4-FFF2-40B4-BE49-F238E27FC236}">
                            <a16:creationId xmlns:a16="http://schemas.microsoft.com/office/drawing/2014/main" id="{0A050459-5091-F5DB-3D52-D18F887822A7}"/>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85523" y="345396"/>
            <a:ext cx="11224347" cy="470898"/>
          </a:xfrm>
          <a:prstGeom prst="rect">
            <a:avLst/>
          </a:prstGeom>
        </p:spPr>
        <p:txBody>
          <a:bodyPr vert="horz" lIns="0" tIns="0" rIns="0" bIns="0" rtlCol="0" anchor="t" anchorCtr="0">
            <a:noAutofit/>
          </a:bodyPr>
          <a:lstStyle/>
          <a:p>
            <a:r>
              <a:rPr lang="en-GB" dirty="0"/>
              <a:t>Click to edit Master title style</a:t>
            </a:r>
          </a:p>
        </p:txBody>
      </p:sp>
      <p:sp>
        <p:nvSpPr>
          <p:cNvPr id="3" name="Text Placeholder 2"/>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dirty="0"/>
              <a:t>First level text style </a:t>
            </a:r>
            <a:r>
              <a:rPr lang="en-US" dirty="0" err="1"/>
              <a:t>EYInterstate</a:t>
            </a:r>
            <a:r>
              <a:rPr lang="en-US" dirty="0"/>
              <a:t> Light 16pt</a:t>
            </a:r>
          </a:p>
          <a:p>
            <a:pPr lvl="1"/>
            <a:r>
              <a:rPr lang="en-US" dirty="0"/>
              <a:t>Second level text style </a:t>
            </a:r>
            <a:r>
              <a:rPr lang="en-US" dirty="0" err="1"/>
              <a:t>EYInterstate</a:t>
            </a:r>
            <a:r>
              <a:rPr lang="en-US" dirty="0"/>
              <a:t> Light 16pt</a:t>
            </a:r>
          </a:p>
          <a:p>
            <a:pPr lvl="2"/>
            <a:r>
              <a:rPr lang="en-US" dirty="0"/>
              <a:t>Third level text style </a:t>
            </a:r>
            <a:r>
              <a:rPr lang="en-US" dirty="0" err="1"/>
              <a:t>EYInterstate</a:t>
            </a:r>
            <a:r>
              <a:rPr lang="en-US" dirty="0"/>
              <a:t> Light 14pt</a:t>
            </a:r>
          </a:p>
          <a:p>
            <a:pPr lvl="3"/>
            <a:r>
              <a:rPr lang="en-US" dirty="0"/>
              <a:t>Fourth level text style </a:t>
            </a:r>
            <a:r>
              <a:rPr lang="en-US" dirty="0" err="1"/>
              <a:t>EYInterstate</a:t>
            </a:r>
            <a:r>
              <a:rPr lang="en-US" dirty="0"/>
              <a:t> Light 14pt</a:t>
            </a:r>
          </a:p>
          <a:p>
            <a:pPr lvl="4"/>
            <a:r>
              <a:rPr lang="en-US" dirty="0"/>
              <a:t>Fifth level text style </a:t>
            </a:r>
            <a:r>
              <a:rPr lang="en-US" dirty="0" err="1"/>
              <a:t>EYInterstate</a:t>
            </a:r>
            <a:r>
              <a:rPr lang="en-US" dirty="0"/>
              <a:t> Light 12pt</a:t>
            </a:r>
          </a:p>
          <a:p>
            <a:pPr lvl="5"/>
            <a:r>
              <a:rPr lang="en-US" dirty="0"/>
              <a:t>Sixth level text style </a:t>
            </a:r>
            <a:r>
              <a:rPr lang="en-US" dirty="0" err="1"/>
              <a:t>EYInterstate</a:t>
            </a:r>
            <a:r>
              <a:rPr lang="en-US" dirty="0"/>
              <a:t> Light 12pt</a:t>
            </a:r>
          </a:p>
          <a:p>
            <a:pPr lvl="6"/>
            <a:r>
              <a:rPr lang="en-US" dirty="0"/>
              <a:t>Seventh level text style </a:t>
            </a:r>
            <a:r>
              <a:rPr lang="en-US" dirty="0" err="1"/>
              <a:t>EYInterstate</a:t>
            </a:r>
            <a:r>
              <a:rPr lang="en-US" dirty="0"/>
              <a:t> Light 11pt</a:t>
            </a:r>
          </a:p>
          <a:p>
            <a:pPr lvl="7"/>
            <a:r>
              <a:rPr lang="en-US" dirty="0"/>
              <a:t>Eighth level text style </a:t>
            </a:r>
            <a:r>
              <a:rPr lang="en-US" dirty="0" err="1"/>
              <a:t>EYInterstate</a:t>
            </a:r>
            <a:r>
              <a:rPr lang="en-US" dirty="0"/>
              <a:t> Light 10pt</a:t>
            </a:r>
          </a:p>
        </p:txBody>
      </p:sp>
      <p:grpSp>
        <p:nvGrpSpPr>
          <p:cNvPr id="6" name="Group 4">
            <a:extLst>
              <a:ext uri="{FF2B5EF4-FFF2-40B4-BE49-F238E27FC236}">
                <a16:creationId xmlns:a16="http://schemas.microsoft.com/office/drawing/2014/main" id="{84D8E7BF-2CB9-F661-3559-99D90AE0A4E5}"/>
              </a:ext>
            </a:extLst>
          </p:cNvPr>
          <p:cNvGrpSpPr>
            <a:grpSpLocks noChangeAspect="1"/>
          </p:cNvGrpSpPr>
          <p:nvPr userDrawn="1"/>
        </p:nvGrpSpPr>
        <p:grpSpPr bwMode="black">
          <a:xfrm>
            <a:off x="11369257"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8" name="Freeform 6">
              <a:extLst>
                <a:ext uri="{FF2B5EF4-FFF2-40B4-BE49-F238E27FC236}">
                  <a16:creationId xmlns:a16="http://schemas.microsoft.com/office/drawing/2014/main" id="{9F5D8B0B-D61C-3D77-A3C6-C71B65E6645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3" name="Freeform 7">
              <a:extLst>
                <a:ext uri="{FF2B5EF4-FFF2-40B4-BE49-F238E27FC236}">
                  <a16:creationId xmlns:a16="http://schemas.microsoft.com/office/drawing/2014/main" id="{66939EE2-541D-2E43-8858-BD44D3A014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10" name="Footer Placeholder 2">
            <a:extLst>
              <a:ext uri="{FF2B5EF4-FFF2-40B4-BE49-F238E27FC236}">
                <a16:creationId xmlns:a16="http://schemas.microsoft.com/office/drawing/2014/main" id="{7A0EC0E8-82E7-5BDC-AC67-A98086F628BD}"/>
              </a:ext>
            </a:extLst>
          </p:cNvPr>
          <p:cNvSpPr txBox="1">
            <a:spLocks/>
          </p:cNvSpPr>
          <p:nvPr userDrawn="1"/>
        </p:nvSpPr>
        <p:spPr>
          <a:xfrm>
            <a:off x="880006" y="6437115"/>
            <a:ext cx="1280160" cy="123111"/>
          </a:xfrm>
          <a:prstGeom prst="rect">
            <a:avLst/>
          </a:prstGeom>
        </p:spPr>
        <p:txBody>
          <a:bodyPr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l"/>
            <a:r>
              <a:rPr lang="en-IN" dirty="0">
                <a:latin typeface="+mn-lt"/>
              </a:rPr>
              <a:t>Form 990 and IRS updates</a:t>
            </a:r>
            <a:endParaRPr lang="en-US" dirty="0">
              <a:latin typeface="+mn-lt"/>
            </a:endParaRPr>
          </a:p>
        </p:txBody>
      </p:sp>
      <p:sp>
        <p:nvSpPr>
          <p:cNvPr id="11" name="Slide Number Placeholder 4">
            <a:extLst>
              <a:ext uri="{FF2B5EF4-FFF2-40B4-BE49-F238E27FC236}">
                <a16:creationId xmlns:a16="http://schemas.microsoft.com/office/drawing/2014/main" id="{D4FDF76D-C218-1876-7203-478976463BC2}"/>
              </a:ext>
            </a:extLst>
          </p:cNvPr>
          <p:cNvSpPr txBox="1">
            <a:spLocks/>
          </p:cNvSpPr>
          <p:nvPr userDrawn="1"/>
        </p:nvSpPr>
        <p:spPr>
          <a:xfrm>
            <a:off x="479425" y="6437115"/>
            <a:ext cx="182880" cy="123111"/>
          </a:xfrm>
          <a:prstGeom prst="rect">
            <a:avLst/>
          </a:prstGeom>
        </p:spPr>
        <p:txBody>
          <a:bodyPr lIns="0" tIns="0" rIns="0" bIns="0">
            <a:spAutoFit/>
          </a:bodyPr>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fld id="{D5B76411-544C-4F9A-8EDE-9EEB2BD21F95}" type="slidenum">
              <a:rPr lang="en-IN" smtClean="0">
                <a:solidFill>
                  <a:srgbClr val="FFE600"/>
                </a:solidFill>
                <a:latin typeface="+mn-lt"/>
              </a:rPr>
              <a:t>‹#›</a:t>
            </a:fld>
            <a:endParaRPr dirty="0">
              <a:solidFill>
                <a:srgbClr val="FFE600"/>
              </a:solidFill>
              <a:latin typeface="+mn-lt"/>
            </a:endParaRPr>
          </a:p>
        </p:txBody>
      </p:sp>
      <p:sp>
        <p:nvSpPr>
          <p:cNvPr id="4" name="Oval 3">
            <a:extLst>
              <a:ext uri="{FF2B5EF4-FFF2-40B4-BE49-F238E27FC236}">
                <a16:creationId xmlns:a16="http://schemas.microsoft.com/office/drawing/2014/main" id="{C689E128-39F7-E86F-A371-41595676D244}"/>
              </a:ext>
            </a:extLst>
          </p:cNvPr>
          <p:cNvSpPr/>
          <p:nvPr userDrawn="1"/>
        </p:nvSpPr>
        <p:spPr>
          <a:xfrm>
            <a:off x="2234725" y="6470568"/>
            <a:ext cx="56205" cy="56205"/>
          </a:xfrm>
          <a:prstGeom prst="ellipse">
            <a:avLst/>
          </a:prstGeom>
          <a:noFill/>
          <a:ln w="12700" cap="flat" cmpd="sng" algn="ctr">
            <a:solidFill>
              <a:srgbClr val="FFE60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IN" sz="2000" dirty="0" err="1">
              <a:solidFill>
                <a:schemeClr val="tx1"/>
              </a:solidFill>
            </a:endParaRPr>
          </a:p>
        </p:txBody>
      </p:sp>
      <p:sp>
        <p:nvSpPr>
          <p:cNvPr id="5" name="Oval 4">
            <a:extLst>
              <a:ext uri="{FF2B5EF4-FFF2-40B4-BE49-F238E27FC236}">
                <a16:creationId xmlns:a16="http://schemas.microsoft.com/office/drawing/2014/main" id="{6354CD47-F959-159D-EF29-E23B55E8271F}"/>
              </a:ext>
            </a:extLst>
          </p:cNvPr>
          <p:cNvSpPr/>
          <p:nvPr userDrawn="1"/>
        </p:nvSpPr>
        <p:spPr>
          <a:xfrm>
            <a:off x="2369485" y="6470568"/>
            <a:ext cx="56205" cy="56205"/>
          </a:xfrm>
          <a:prstGeom prst="ellipse">
            <a:avLst/>
          </a:prstGeom>
          <a:noFill/>
          <a:ln w="12700" cap="flat" cmpd="sng" algn="ctr">
            <a:solidFill>
              <a:srgbClr val="74748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IN" sz="2000" dirty="0" err="1">
              <a:solidFill>
                <a:schemeClr val="tx1"/>
              </a:solidFill>
            </a:endParaRPr>
          </a:p>
        </p:txBody>
      </p:sp>
      <p:sp>
        <p:nvSpPr>
          <p:cNvPr id="9" name="Oval 8">
            <a:extLst>
              <a:ext uri="{FF2B5EF4-FFF2-40B4-BE49-F238E27FC236}">
                <a16:creationId xmlns:a16="http://schemas.microsoft.com/office/drawing/2014/main" id="{5A40F3CC-D97B-ED9F-7162-CE3043640D55}"/>
              </a:ext>
            </a:extLst>
          </p:cNvPr>
          <p:cNvSpPr/>
          <p:nvPr userDrawn="1"/>
        </p:nvSpPr>
        <p:spPr>
          <a:xfrm>
            <a:off x="2504245" y="6470568"/>
            <a:ext cx="56205" cy="56205"/>
          </a:xfrm>
          <a:prstGeom prst="ellipse">
            <a:avLst/>
          </a:prstGeom>
          <a:noFill/>
          <a:ln w="12700" cap="flat" cmpd="sng" algn="ctr">
            <a:solidFill>
              <a:srgbClr val="C4C4CD"/>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IN" sz="2000" dirty="0" err="1">
              <a:solidFill>
                <a:schemeClr val="tx1"/>
              </a:solidFill>
            </a:endParaRPr>
          </a:p>
        </p:txBody>
      </p:sp>
    </p:spTree>
    <p:extLst>
      <p:ext uri="{BB962C8B-B14F-4D97-AF65-F5344CB8AC3E}">
        <p14:creationId xmlns:p14="http://schemas.microsoft.com/office/powerpoint/2010/main" val="4076081972"/>
      </p:ext>
    </p:extLst>
  </p:cSld>
  <p:clrMap bg1="lt1" tx1="dk1" bg2="lt2" tx2="dk2" accent1="accent1" accent2="accent2" accent3="accent3" accent4="accent4" accent5="accent5" accent6="accent6" hlink="hlink" folHlink="folHlink"/>
  <p:sldLayoutIdLst>
    <p:sldLayoutId id="2147484451" r:id="rId1"/>
    <p:sldLayoutId id="2147484452" r:id="rId2"/>
    <p:sldLayoutId id="2147484453" r:id="rId3"/>
    <p:sldLayoutId id="2147484454" r:id="rId4"/>
    <p:sldLayoutId id="2147484455" r:id="rId5"/>
    <p:sldLayoutId id="2147484456" r:id="rId6"/>
    <p:sldLayoutId id="2147484457" r:id="rId7"/>
    <p:sldLayoutId id="2147484458" r:id="rId8"/>
    <p:sldLayoutId id="2147484459" r:id="rId9"/>
    <p:sldLayoutId id="2147484460" r:id="rId10"/>
    <p:sldLayoutId id="2147484461" r:id="rId11"/>
    <p:sldLayoutId id="2147484462" r:id="rId12"/>
    <p:sldLayoutId id="2147484463" r:id="rId13"/>
    <p:sldLayoutId id="2147484464" r:id="rId14"/>
    <p:sldLayoutId id="2147484465" r:id="rId15"/>
    <p:sldLayoutId id="2147484466" r:id="rId16"/>
    <p:sldLayoutId id="2147484467" r:id="rId17"/>
    <p:sldLayoutId id="2147484468" r:id="rId18"/>
    <p:sldLayoutId id="2147484469" r:id="rId19"/>
    <p:sldLayoutId id="2147484470" r:id="rId20"/>
    <p:sldLayoutId id="2147484471" r:id="rId21"/>
    <p:sldLayoutId id="2147484472" r:id="rId22"/>
    <p:sldLayoutId id="2147484473" r:id="rId23"/>
    <p:sldLayoutId id="2147484474" r:id="rId24"/>
    <p:sldLayoutId id="2147484475" r:id="rId25"/>
    <p:sldLayoutId id="2147484476" r:id="rId26"/>
    <p:sldLayoutId id="2147484477" r:id="rId27"/>
    <p:sldLayoutId id="2147484478" r:id="rId28"/>
    <p:sldLayoutId id="2147484479" r:id="rId29"/>
    <p:sldLayoutId id="2147484480" r:id="rId30"/>
    <p:sldLayoutId id="2147484481" r:id="rId31"/>
    <p:sldLayoutId id="2147484482" r:id="rId32"/>
    <p:sldLayoutId id="2147484483" r:id="rId33"/>
    <p:sldLayoutId id="2147484484" r:id="rId34"/>
    <p:sldLayoutId id="2147484485" r:id="rId35"/>
    <p:sldLayoutId id="2147484486" r:id="rId36"/>
    <p:sldLayoutId id="2147484487" r:id="rId37"/>
    <p:sldLayoutId id="2147484488" r:id="rId38"/>
    <p:sldLayoutId id="2147484489" r:id="rId39"/>
    <p:sldLayoutId id="2147484490" r:id="rId40"/>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8">
          <p15:clr>
            <a:srgbClr val="F26B43"/>
          </p15:clr>
        </p15:guide>
        <p15:guide id="35" pos="302">
          <p15:clr>
            <a:srgbClr val="F26B43"/>
          </p15:clr>
        </p15:guide>
        <p15:guide id="36" orient="horz" pos="210">
          <p15:clr>
            <a:srgbClr val="F26B43"/>
          </p15:clr>
        </p15:guide>
        <p15:guide id="37" orient="horz" pos="527">
          <p15:clr>
            <a:srgbClr val="F26B43"/>
          </p15:clr>
        </p15:guide>
        <p15:guide id="38" orient="horz" pos="890">
          <p15:clr>
            <a:srgbClr val="F26B43"/>
          </p15:clr>
        </p15:guide>
        <p15:guide id="39" orient="horz" pos="383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1FB9E854-AF8D-D567-FF2E-9FB7D87FB0AA}"/>
              </a:ext>
            </a:extLst>
          </p:cNvPr>
          <p:cNvGraphicFramePr>
            <a:graphicFrameLocks noChangeAspect="1"/>
          </p:cNvGraphicFramePr>
          <p:nvPr userDrawn="1">
            <p:custDataLst>
              <p:tags r:id="rId15"/>
            </p:custDataLst>
            <p:extLst>
              <p:ext uri="{D42A27DB-BD31-4B8C-83A1-F6EECF244321}">
                <p14:modId xmlns:p14="http://schemas.microsoft.com/office/powerpoint/2010/main" val="2797045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6" progId="TCLayout.ActiveDocument.1">
                  <p:embed/>
                </p:oleObj>
              </mc:Choice>
              <mc:Fallback>
                <p:oleObj name="think-cell Slide" r:id="rId16" imgW="395" imgH="396" progId="TCLayout.ActiveDocument.1">
                  <p:embed/>
                  <p:pic>
                    <p:nvPicPr>
                      <p:cNvPr id="11" name="think-cell data - do not delete" hidden="1">
                        <a:extLst>
                          <a:ext uri="{FF2B5EF4-FFF2-40B4-BE49-F238E27FC236}">
                            <a16:creationId xmlns:a16="http://schemas.microsoft.com/office/drawing/2014/main" id="{1FB9E854-AF8D-D567-FF2E-9FB7D87FB0A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pic>
        <p:nvPicPr>
          <p:cNvPr id="4" name="Picture 3" descr="A blurry image of a rainbow&#10;&#10;Description automatically generated">
            <a:extLst>
              <a:ext uri="{FF2B5EF4-FFF2-40B4-BE49-F238E27FC236}">
                <a16:creationId xmlns:a16="http://schemas.microsoft.com/office/drawing/2014/main" id="{F069EED6-D59B-6B93-7881-CB98A016B7C8}"/>
              </a:ext>
            </a:extLst>
          </p:cNvPr>
          <p:cNvPicPr>
            <a:picLocks/>
          </p:cNvPicPr>
          <p:nvPr userDrawn="1"/>
        </p:nvPicPr>
        <p:blipFill>
          <a:blip r:embed="rId18">
            <a:alphaModFix amt="45000"/>
            <a:extLst>
              <a:ext uri="{28A0092B-C50C-407E-A947-70E740481C1C}">
                <a14:useLocalDpi xmlns:a14="http://schemas.microsoft.com/office/drawing/2010/main"/>
              </a:ext>
            </a:extLst>
          </a:blip>
          <a:stretch>
            <a:fillRect/>
          </a:stretch>
        </p:blipFill>
        <p:spPr bwMode="hidden">
          <a:xfrm flipH="1">
            <a:off x="0" y="0"/>
            <a:ext cx="12193200" cy="6858000"/>
          </a:xfrm>
          <a:prstGeom prst="rect">
            <a:avLst/>
          </a:prstGeom>
        </p:spPr>
      </p:pic>
      <p:sp>
        <p:nvSpPr>
          <p:cNvPr id="2" name="Title Placeholder"/>
          <p:cNvSpPr>
            <a:spLocks noGrp="1"/>
          </p:cNvSpPr>
          <p:nvPr>
            <p:ph type="title"/>
          </p:nvPr>
        </p:nvSpPr>
        <p:spPr>
          <a:xfrm>
            <a:off x="485523" y="382588"/>
            <a:ext cx="11224347" cy="638175"/>
          </a:xfrm>
          <a:prstGeom prst="rect">
            <a:avLst/>
          </a:prstGeom>
        </p:spPr>
        <p:txBody>
          <a:bodyPr vert="horz" lIns="0" tIns="0" rIns="0" bIns="0" rtlCol="0" anchor="t" anchorCtr="0">
            <a:noAutofit/>
          </a:bodyPr>
          <a:lstStyle/>
          <a:p>
            <a:r>
              <a:rPr lang="en-GB"/>
              <a:t>Click to edit Master title style</a:t>
            </a:r>
          </a:p>
        </p:txBody>
      </p:sp>
      <p:sp>
        <p:nvSpPr>
          <p:cNvPr id="3" name="Text Placeholder"/>
          <p:cNvSpPr>
            <a:spLocks noGrp="1"/>
          </p:cNvSpPr>
          <p:nvPr>
            <p:ph type="body" idx="1"/>
          </p:nvPr>
        </p:nvSpPr>
        <p:spPr>
          <a:xfrm>
            <a:off x="485523" y="1411287"/>
            <a:ext cx="11224347" cy="4638675"/>
          </a:xfrm>
          <a:prstGeom prst="rect">
            <a:avLst/>
          </a:prstGeom>
        </p:spPr>
        <p:txBody>
          <a:bodyPr vert="horz" lIns="0" tIns="0" rIns="0" bIns="0" rtlCol="0" anchor="t" anchorCtr="0">
            <a:noAutofit/>
          </a:bodyPr>
          <a:lstStyle/>
          <a:p>
            <a:r>
              <a:rPr lang="en-US"/>
              <a:t>First level text style </a:t>
            </a:r>
            <a:r>
              <a:rPr lang="en-US" err="1"/>
              <a:t>EYInterstate</a:t>
            </a:r>
            <a:r>
              <a:rPr lang="en-US"/>
              <a:t> Light 16pt</a:t>
            </a:r>
          </a:p>
          <a:p>
            <a:pPr lvl="1"/>
            <a:r>
              <a:rPr lang="en-US"/>
              <a:t>Second level text style </a:t>
            </a:r>
            <a:r>
              <a:rPr lang="en-US" err="1"/>
              <a:t>EYInterstate</a:t>
            </a:r>
            <a:r>
              <a:rPr lang="en-US"/>
              <a:t> Light 16pt</a:t>
            </a:r>
          </a:p>
          <a:p>
            <a:pPr lvl="2"/>
            <a:r>
              <a:rPr lang="en-US"/>
              <a:t>Third level text style </a:t>
            </a:r>
            <a:r>
              <a:rPr lang="en-US" err="1"/>
              <a:t>EYInterstate</a:t>
            </a:r>
            <a:r>
              <a:rPr lang="en-US"/>
              <a:t> Light 14pt</a:t>
            </a:r>
          </a:p>
          <a:p>
            <a:pPr lvl="3"/>
            <a:r>
              <a:rPr lang="en-US"/>
              <a:t>Fourth level text style </a:t>
            </a:r>
            <a:r>
              <a:rPr lang="en-US" err="1"/>
              <a:t>EYInterstate</a:t>
            </a:r>
            <a:r>
              <a:rPr lang="en-US"/>
              <a:t> Light 14pt</a:t>
            </a:r>
          </a:p>
          <a:p>
            <a:pPr lvl="4"/>
            <a:r>
              <a:rPr lang="en-US"/>
              <a:t>Fifth level text style </a:t>
            </a:r>
            <a:r>
              <a:rPr lang="en-US" err="1"/>
              <a:t>EYInterstate</a:t>
            </a:r>
            <a:r>
              <a:rPr lang="en-US"/>
              <a:t> Light 12pt</a:t>
            </a:r>
          </a:p>
          <a:p>
            <a:pPr lvl="5"/>
            <a:r>
              <a:rPr lang="en-US"/>
              <a:t>Sixth level text style </a:t>
            </a:r>
            <a:r>
              <a:rPr lang="en-US" err="1"/>
              <a:t>EYInterstate</a:t>
            </a:r>
            <a:r>
              <a:rPr lang="en-US"/>
              <a:t> Light 12pt</a:t>
            </a:r>
          </a:p>
          <a:p>
            <a:pPr lvl="6"/>
            <a:r>
              <a:rPr lang="en-US"/>
              <a:t>Seventh level text style </a:t>
            </a:r>
            <a:r>
              <a:rPr lang="en-US" err="1"/>
              <a:t>EYInterstate</a:t>
            </a:r>
            <a:r>
              <a:rPr lang="en-US"/>
              <a:t> Light 11pt</a:t>
            </a:r>
          </a:p>
          <a:p>
            <a:pPr lvl="7"/>
            <a:r>
              <a:rPr lang="en-US"/>
              <a:t>Eighth level text style </a:t>
            </a:r>
            <a:r>
              <a:rPr lang="en-US" err="1"/>
              <a:t>EYInterstate</a:t>
            </a:r>
            <a:r>
              <a:rPr lang="en-US"/>
              <a:t> Light 10pt</a:t>
            </a:r>
          </a:p>
          <a:p>
            <a:pPr lvl="8"/>
            <a:r>
              <a:rPr lang="en-US"/>
              <a:t>Nineth level text style </a:t>
            </a:r>
            <a:r>
              <a:rPr lang="en-US" err="1"/>
              <a:t>EYInterstate</a:t>
            </a:r>
            <a:r>
              <a:rPr lang="en-US"/>
              <a:t> Light 20pt for key pull out text</a:t>
            </a:r>
          </a:p>
        </p:txBody>
      </p:sp>
      <p:grpSp>
        <p:nvGrpSpPr>
          <p:cNvPr id="6" name="Logo">
            <a:extLst>
              <a:ext uri="{FF2B5EF4-FFF2-40B4-BE49-F238E27FC236}">
                <a16:creationId xmlns:a16="http://schemas.microsoft.com/office/drawing/2014/main" id="{84D8E7BF-2CB9-F661-3559-99D90AE0A4E5}"/>
              </a:ext>
            </a:extLst>
          </p:cNvPr>
          <p:cNvGrpSpPr>
            <a:grpSpLocks noGrp="1" noUngrp="1" noRot="1" noChangeAspect="1" noMove="1" noResize="1"/>
          </p:cNvGrpSpPr>
          <p:nvPr userDrawn="1"/>
        </p:nvGrpSpPr>
        <p:grpSpPr bwMode="black">
          <a:xfrm>
            <a:off x="11623900" y="6276977"/>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noGrp="1" noRot="1" noMove="1" noResize="1" noEditPoints="1" noAdjustHandles="1" noChangeArrowheads="1" noChangeShapeType="1"/>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8" name="Freeform 6">
              <a:extLst>
                <a:ext uri="{FF2B5EF4-FFF2-40B4-BE49-F238E27FC236}">
                  <a16:creationId xmlns:a16="http://schemas.microsoft.com/office/drawing/2014/main" id="{9F5D8B0B-D61C-3D77-A3C6-C71B65E66459}"/>
                </a:ext>
              </a:extLst>
            </p:cNvPr>
            <p:cNvSpPr>
              <a:spLocks noGrp="1" noRot="1" noMove="1" noResize="1" noEditPoints="1" noAdjustHandles="1" noChangeArrowheads="1" noChangeShapeType="1"/>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sp>
          <p:nvSpPr>
            <p:cNvPr id="13" name="Freeform 7">
              <a:extLst>
                <a:ext uri="{FF2B5EF4-FFF2-40B4-BE49-F238E27FC236}">
                  <a16:creationId xmlns:a16="http://schemas.microsoft.com/office/drawing/2014/main" id="{66939EE2-541D-2E43-8858-BD44D3A0144C}"/>
                </a:ext>
              </a:extLst>
            </p:cNvPr>
            <p:cNvSpPr>
              <a:spLocks noGrp="1" noRot="1" noMove="1" noResize="1" noEditPoints="1" noAdjustHandles="1" noChangeArrowheads="1" noChangeShapeType="1"/>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800">
                <a:latin typeface="+mn-lt"/>
              </a:endParaRPr>
            </a:p>
          </p:txBody>
        </p:sp>
      </p:grpSp>
      <p:sp>
        <p:nvSpPr>
          <p:cNvPr id="9" name="TextBox 8">
            <a:extLst>
              <a:ext uri="{FF2B5EF4-FFF2-40B4-BE49-F238E27FC236}">
                <a16:creationId xmlns:a16="http://schemas.microsoft.com/office/drawing/2014/main" id="{D9D9CA88-CF58-B76E-781E-630BE77A0617}"/>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a:solidFill>
                <a:schemeClr val="bg1"/>
              </a:solidFill>
              <a:latin typeface="EYInterstate" panose="02000503020000020004" pitchFamily="2" charset="0"/>
            </a:endParaRPr>
          </a:p>
        </p:txBody>
      </p:sp>
      <p:sp>
        <p:nvSpPr>
          <p:cNvPr id="5" name="Rectangle 4">
            <a:extLst>
              <a:ext uri="{FF2B5EF4-FFF2-40B4-BE49-F238E27FC236}">
                <a16:creationId xmlns:a16="http://schemas.microsoft.com/office/drawing/2014/main" id="{B267FD03-357F-3B48-6020-113D59F0EDC5}"/>
              </a:ext>
            </a:extLst>
          </p:cNvPr>
          <p:cNvSpPr/>
          <p:nvPr userDrawn="1"/>
        </p:nvSpPr>
        <p:spPr>
          <a:xfrm>
            <a:off x="4038600" y="6468364"/>
            <a:ext cx="4114800" cy="182880"/>
          </a:xfrm>
          <a:prstGeom prst="rect">
            <a:avLst/>
          </a:prstGeom>
        </p:spPr>
        <p:txBody>
          <a:bodyPr vert="horz" wrap="none" lIns="0" tIns="0" rIns="0" bIns="0" rtlCol="0" anchor="ctr" anchorCtr="0">
            <a:noAutofit/>
          </a:bodyPr>
          <a:lstStyle/>
          <a:p>
            <a:pPr lvl="0" algn="ctr"/>
            <a:r>
              <a:rPr lang="en-US" sz="800">
                <a:solidFill>
                  <a:schemeClr val="bg1"/>
                </a:solidFill>
                <a:latin typeface="EYInterstate" panose="02000503020000020004" pitchFamily="2" charset="0"/>
                <a:cs typeface="Arial" pitchFamily="34" charset="0"/>
              </a:rPr>
              <a:t>Future Tax Leaders Program: EY Exempt Organization Tax Services</a:t>
            </a:r>
          </a:p>
        </p:txBody>
      </p:sp>
      <p:sp>
        <p:nvSpPr>
          <p:cNvPr id="12" name="Rectangle 11">
            <a:extLst>
              <a:ext uri="{FF2B5EF4-FFF2-40B4-BE49-F238E27FC236}">
                <a16:creationId xmlns:a16="http://schemas.microsoft.com/office/drawing/2014/main" id="{822BAE33-0CF7-25BD-E828-48FF5DA2BE43}"/>
              </a:ext>
            </a:extLst>
          </p:cNvPr>
          <p:cNvSpPr/>
          <p:nvPr userDrawn="1"/>
        </p:nvSpPr>
        <p:spPr>
          <a:xfrm>
            <a:off x="1007009" y="6468364"/>
            <a:ext cx="1188720" cy="182880"/>
          </a:xfrm>
          <a:prstGeom prst="rect">
            <a:avLst/>
          </a:prstGeom>
        </p:spPr>
        <p:txBody>
          <a:bodyPr vert="horz" wrap="none" lIns="0" tIns="0" rIns="0" bIns="0" rtlCol="0" anchor="ctr" anchorCtr="0">
            <a:noAutofit/>
          </a:bodyPr>
          <a:lstStyle/>
          <a:p>
            <a:pPr lvl="0"/>
            <a:r>
              <a:rPr lang="en-US" sz="800">
                <a:solidFill>
                  <a:schemeClr val="bg1"/>
                </a:solidFill>
                <a:latin typeface="EYInterstate" panose="02000503020000020004" pitchFamily="2" charset="0"/>
                <a:cs typeface="Arial" pitchFamily="34" charset="0"/>
              </a:rPr>
              <a:t>March 2025</a:t>
            </a:r>
          </a:p>
        </p:txBody>
      </p:sp>
    </p:spTree>
    <p:extLst>
      <p:ext uri="{BB962C8B-B14F-4D97-AF65-F5344CB8AC3E}">
        <p14:creationId xmlns:p14="http://schemas.microsoft.com/office/powerpoint/2010/main" val="2924229438"/>
      </p:ext>
    </p:extLst>
  </p:cSld>
  <p:clrMap bg1="lt1" tx1="dk1" bg2="lt2" tx2="dk2" accent1="accent1" accent2="accent2" accent3="accent3" accent4="accent4" accent5="accent5" accent6="accent6" hlink="hlink" folHlink="folHlink"/>
  <p:sldLayoutIdLst>
    <p:sldLayoutId id="2147484086" r:id="rId1"/>
    <p:sldLayoutId id="2147484435" r:id="rId2"/>
    <p:sldLayoutId id="2147484087" r:id="rId3"/>
    <p:sldLayoutId id="2147484437" r:id="rId4"/>
    <p:sldLayoutId id="2147484088" r:id="rId5"/>
    <p:sldLayoutId id="2147484447" r:id="rId6"/>
    <p:sldLayoutId id="2147484099" r:id="rId7"/>
    <p:sldLayoutId id="2147484089" r:id="rId8"/>
    <p:sldLayoutId id="2147484094" r:id="rId9"/>
    <p:sldLayoutId id="2147484442" r:id="rId10"/>
    <p:sldLayoutId id="2147484438" r:id="rId11"/>
    <p:sldLayoutId id="2147484445" r:id="rId12"/>
    <p:sldLayoutId id="2147484444" r:id="rId13"/>
  </p:sldLayoutIdLst>
  <p:hf hdr="0"/>
  <p:txStyles>
    <p:titleStyle>
      <a:lvl1pPr algn="l" defTabSz="914400" rtl="0" eaLnBrk="1" latinLnBrk="0" hangingPunct="1">
        <a:lnSpc>
          <a:spcPct val="85000"/>
        </a:lnSpc>
        <a:spcBef>
          <a:spcPct val="0"/>
        </a:spcBef>
        <a:buNone/>
        <a:defRPr sz="24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0" indent="0" algn="l" defTabSz="914400" rtl="0" eaLnBrk="1" latinLnBrk="0" hangingPunct="1">
        <a:spcBef>
          <a:spcPts val="1200"/>
        </a:spcBef>
        <a:spcAft>
          <a:spcPts val="1200"/>
        </a:spcAft>
        <a:buClr>
          <a:schemeClr val="tx2"/>
        </a:buClr>
        <a:buFont typeface="Wingdings" pitchFamily="2" charset="2"/>
        <a:buNone/>
        <a:tabLst/>
        <a:defRPr sz="2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43" pos="302" userDrawn="1">
          <p15:clr>
            <a:srgbClr val="F26B43"/>
          </p15:clr>
        </p15:guide>
        <p15:guide id="45" pos="7378" userDrawn="1">
          <p15:clr>
            <a:srgbClr val="F26B43"/>
          </p15:clr>
        </p15:guide>
        <p15:guide id="58" orient="horz" pos="663" userDrawn="1">
          <p15:clr>
            <a:srgbClr val="F26B43"/>
          </p15:clr>
        </p15:guide>
        <p15:guide id="59" orient="horz" pos="255" userDrawn="1">
          <p15:clr>
            <a:srgbClr val="F26B43"/>
          </p15:clr>
        </p15:guide>
        <p15:guide id="60" orient="horz" pos="890" userDrawn="1">
          <p15:clr>
            <a:srgbClr val="F26B43"/>
          </p15:clr>
        </p15:guide>
        <p15:guide id="61" orient="horz" pos="3838"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19DE3B1E-56C4-396C-A335-AD779150A66E}"/>
              </a:ext>
            </a:extLst>
          </p:cNvPr>
          <p:cNvGraphicFramePr>
            <a:graphicFrameLocks noChangeAspect="1"/>
          </p:cNvGraphicFramePr>
          <p:nvPr userDrawn="1">
            <p:custDataLst>
              <p:tags r:id="rId5"/>
            </p:custDataLst>
            <p:extLst>
              <p:ext uri="{D42A27DB-BD31-4B8C-83A1-F6EECF244321}">
                <p14:modId xmlns:p14="http://schemas.microsoft.com/office/powerpoint/2010/main" val="1414939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16" name="think-cell data - do not delete" hidden="1">
                        <a:extLst>
                          <a:ext uri="{FF2B5EF4-FFF2-40B4-BE49-F238E27FC236}">
                            <a16:creationId xmlns:a16="http://schemas.microsoft.com/office/drawing/2014/main" id="{19DE3B1E-56C4-396C-A335-AD779150A66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85524" y="369888"/>
            <a:ext cx="11224347" cy="470898"/>
          </a:xfrm>
          <a:prstGeom prst="rect">
            <a:avLst/>
          </a:prstGeom>
        </p:spPr>
        <p:txBody>
          <a:bodyPr vert="horz" lIns="0" tIns="0" rIns="0" bIns="0" rtlCol="0" anchor="t" anchorCtr="0">
            <a:noAutofit/>
          </a:bodyPr>
          <a:lstStyle/>
          <a:p>
            <a:r>
              <a:rPr lang="en-US"/>
              <a:t>Click to edit Master title style</a:t>
            </a:r>
            <a:endParaRPr lang="en-GB"/>
          </a:p>
        </p:txBody>
      </p:sp>
      <p:sp>
        <p:nvSpPr>
          <p:cNvPr id="3" name="Text Placeholder 2"/>
          <p:cNvSpPr>
            <a:spLocks noGrp="1"/>
          </p:cNvSpPr>
          <p:nvPr>
            <p:ph type="body" idx="1"/>
          </p:nvPr>
        </p:nvSpPr>
        <p:spPr>
          <a:xfrm>
            <a:off x="485524" y="1411289"/>
            <a:ext cx="11224347" cy="4638675"/>
          </a:xfrm>
          <a:prstGeom prst="rect">
            <a:avLst/>
          </a:prstGeom>
        </p:spPr>
        <p:txBody>
          <a:bodyPr vert="horz" lIns="0" tIns="0" rIns="0" bIns="0" rtlCol="0" anchor="t" anchorCtr="0">
            <a:noAutofit/>
          </a:bodyPr>
          <a:lstStyle/>
          <a:p>
            <a:r>
              <a:rPr lang="en-US"/>
              <a:t>First level text style </a:t>
            </a:r>
            <a:r>
              <a:rPr lang="en-US" err="1"/>
              <a:t>EYInterstate</a:t>
            </a:r>
            <a:r>
              <a:rPr lang="en-US"/>
              <a:t> Light </a:t>
            </a:r>
            <a:r>
              <a:rPr lang="en-US" err="1"/>
              <a:t>20pt</a:t>
            </a:r>
            <a:endParaRPr lang="en-US"/>
          </a:p>
          <a:p>
            <a:pPr lvl="1"/>
            <a:r>
              <a:rPr lang="en-US"/>
              <a:t>Second level text style </a:t>
            </a:r>
            <a:r>
              <a:rPr lang="en-US" err="1"/>
              <a:t>EYInterstate</a:t>
            </a:r>
            <a:r>
              <a:rPr lang="en-US"/>
              <a:t> Light </a:t>
            </a:r>
            <a:r>
              <a:rPr lang="en-US" err="1"/>
              <a:t>20pt</a:t>
            </a:r>
            <a:endParaRPr lang="en-US"/>
          </a:p>
          <a:p>
            <a:pPr lvl="2"/>
            <a:r>
              <a:rPr lang="en-US"/>
              <a:t>Third level text style </a:t>
            </a:r>
            <a:r>
              <a:rPr lang="en-US" err="1"/>
              <a:t>EYInterstate</a:t>
            </a:r>
            <a:r>
              <a:rPr lang="en-US"/>
              <a:t> Light </a:t>
            </a:r>
            <a:r>
              <a:rPr lang="en-US" err="1"/>
              <a:t>18pt</a:t>
            </a:r>
            <a:endParaRPr lang="en-US"/>
          </a:p>
          <a:p>
            <a:pPr lvl="3"/>
            <a:r>
              <a:rPr lang="en-US"/>
              <a:t>Fourth level text style </a:t>
            </a:r>
            <a:r>
              <a:rPr lang="en-US" err="1"/>
              <a:t>EYInterstate</a:t>
            </a:r>
            <a:r>
              <a:rPr lang="en-US"/>
              <a:t> Light </a:t>
            </a:r>
            <a:r>
              <a:rPr lang="en-US" err="1"/>
              <a:t>16pt</a:t>
            </a:r>
            <a:endParaRPr lang="en-US"/>
          </a:p>
          <a:p>
            <a:pPr lvl="4"/>
            <a:r>
              <a:rPr lang="en-US"/>
              <a:t>Fifth level text style </a:t>
            </a:r>
            <a:r>
              <a:rPr lang="en-US" err="1"/>
              <a:t>EYInterstate</a:t>
            </a:r>
            <a:r>
              <a:rPr lang="en-US"/>
              <a:t> Light </a:t>
            </a:r>
            <a:r>
              <a:rPr lang="en-US" err="1"/>
              <a:t>16pt</a:t>
            </a:r>
            <a:endParaRPr lang="en-US"/>
          </a:p>
          <a:p>
            <a:pPr lvl="5"/>
            <a:r>
              <a:rPr lang="en-US"/>
              <a:t>Sixth level text style </a:t>
            </a:r>
            <a:r>
              <a:rPr lang="en-US" err="1"/>
              <a:t>EYInterstate</a:t>
            </a:r>
            <a:r>
              <a:rPr lang="en-US"/>
              <a:t> Light </a:t>
            </a:r>
            <a:r>
              <a:rPr lang="en-US" err="1"/>
              <a:t>14pt</a:t>
            </a:r>
            <a:endParaRPr lang="en-US"/>
          </a:p>
          <a:p>
            <a:pPr lvl="6"/>
            <a:r>
              <a:rPr lang="en-US"/>
              <a:t>Seventh level text style </a:t>
            </a:r>
            <a:r>
              <a:rPr lang="en-US" err="1"/>
              <a:t>EYInterstate</a:t>
            </a:r>
            <a:r>
              <a:rPr lang="en-US"/>
              <a:t> Light </a:t>
            </a:r>
            <a:r>
              <a:rPr lang="en-US" err="1"/>
              <a:t>14pt</a:t>
            </a:r>
            <a:endParaRPr lang="en-US"/>
          </a:p>
          <a:p>
            <a:pPr lvl="7"/>
            <a:r>
              <a:rPr lang="en-US"/>
              <a:t>Eighth level text style </a:t>
            </a:r>
            <a:r>
              <a:rPr lang="en-US" err="1"/>
              <a:t>EYInterstate</a:t>
            </a:r>
            <a:r>
              <a:rPr lang="en-US"/>
              <a:t> Light </a:t>
            </a:r>
            <a:r>
              <a:rPr lang="en-US" err="1"/>
              <a:t>12pt</a:t>
            </a:r>
            <a:endParaRPr lang="en-US"/>
          </a:p>
          <a:p>
            <a:pPr lvl="8"/>
            <a:r>
              <a:rPr lang="en-US"/>
              <a:t>Nineth level text style </a:t>
            </a:r>
            <a:r>
              <a:rPr lang="en-US" err="1"/>
              <a:t>EYInterstate</a:t>
            </a:r>
            <a:r>
              <a:rPr lang="en-US"/>
              <a:t> Light </a:t>
            </a:r>
            <a:r>
              <a:rPr lang="en-US" err="1"/>
              <a:t>12pt</a:t>
            </a:r>
            <a:endParaRPr lang="en-US"/>
          </a:p>
        </p:txBody>
      </p:sp>
      <p:grpSp>
        <p:nvGrpSpPr>
          <p:cNvPr id="6" name="Group 4">
            <a:extLst>
              <a:ext uri="{FF2B5EF4-FFF2-40B4-BE49-F238E27FC236}">
                <a16:creationId xmlns:a16="http://schemas.microsoft.com/office/drawing/2014/main" id="{84D8E7BF-2CB9-F661-3559-99D90AE0A4E5}"/>
              </a:ext>
            </a:extLst>
          </p:cNvPr>
          <p:cNvGrpSpPr>
            <a:grpSpLocks noChangeAspect="1"/>
          </p:cNvGrpSpPr>
          <p:nvPr/>
        </p:nvGrpSpPr>
        <p:grpSpPr bwMode="black">
          <a:xfrm>
            <a:off x="11623900" y="6276979"/>
            <a:ext cx="346158" cy="355219"/>
            <a:chOff x="7110" y="4004"/>
            <a:chExt cx="191" cy="196"/>
          </a:xfrm>
        </p:grpSpPr>
        <p:sp>
          <p:nvSpPr>
            <p:cNvPr id="7" name="Freeform 5">
              <a:extLst>
                <a:ext uri="{FF2B5EF4-FFF2-40B4-BE49-F238E27FC236}">
                  <a16:creationId xmlns:a16="http://schemas.microsoft.com/office/drawing/2014/main" id="{B6AA6DF4-2FEA-00BD-9BF9-6CDE40EF389F}"/>
                </a:ext>
              </a:extLst>
            </p:cNvPr>
            <p:cNvSpPr>
              <a:spLocks/>
            </p:cNvSpPr>
            <p:nvPr userDrawn="1"/>
          </p:nvSpPr>
          <p:spPr bwMode="black">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mn-lt"/>
              </a:endParaRPr>
            </a:p>
          </p:txBody>
        </p:sp>
        <p:sp>
          <p:nvSpPr>
            <p:cNvPr id="8" name="Freeform 6">
              <a:extLst>
                <a:ext uri="{FF2B5EF4-FFF2-40B4-BE49-F238E27FC236}">
                  <a16:creationId xmlns:a16="http://schemas.microsoft.com/office/drawing/2014/main" id="{9F5D8B0B-D61C-3D77-A3C6-C71B65E66459}"/>
                </a:ext>
              </a:extLst>
            </p:cNvPr>
            <p:cNvSpPr>
              <a:spLocks/>
            </p:cNvSpPr>
            <p:nvPr userDrawn="1"/>
          </p:nvSpPr>
          <p:spPr bwMode="black">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mn-lt"/>
              </a:endParaRPr>
            </a:p>
          </p:txBody>
        </p:sp>
        <p:sp>
          <p:nvSpPr>
            <p:cNvPr id="13" name="Freeform 7">
              <a:extLst>
                <a:ext uri="{FF2B5EF4-FFF2-40B4-BE49-F238E27FC236}">
                  <a16:creationId xmlns:a16="http://schemas.microsoft.com/office/drawing/2014/main" id="{66939EE2-541D-2E43-8858-BD44D3A0144C}"/>
                </a:ext>
              </a:extLst>
            </p:cNvPr>
            <p:cNvSpPr>
              <a:spLocks/>
            </p:cNvSpPr>
            <p:nvPr userDrawn="1"/>
          </p:nvSpPr>
          <p:spPr bwMode="black">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latin typeface="+mn-lt"/>
              </a:endParaRPr>
            </a:p>
          </p:txBody>
        </p:sp>
      </p:grpSp>
      <p:sp>
        <p:nvSpPr>
          <p:cNvPr id="4" name="TextBox 3">
            <a:extLst>
              <a:ext uri="{FF2B5EF4-FFF2-40B4-BE49-F238E27FC236}">
                <a16:creationId xmlns:a16="http://schemas.microsoft.com/office/drawing/2014/main" id="{F348C26B-EB6F-05CB-58C3-8CC885016C60}"/>
              </a:ext>
            </a:extLst>
          </p:cNvPr>
          <p:cNvSpPr txBox="1"/>
          <p:nvPr userDrawn="1"/>
        </p:nvSpPr>
        <p:spPr>
          <a:xfrm>
            <a:off x="484759" y="6468364"/>
            <a:ext cx="667512" cy="182880"/>
          </a:xfrm>
          <a:prstGeom prst="rect">
            <a:avLst/>
          </a:prstGeom>
          <a:noFill/>
        </p:spPr>
        <p:txBody>
          <a:bodyPr wrap="square" lIns="0" tIns="0" rIns="0" bIns="0" rtlCol="0" anchor="ctr" anchorCtr="0">
            <a:noAutofit/>
          </a:bodyPr>
          <a:lstStyle/>
          <a:p>
            <a:fld id="{9AE4D82F-B047-469B-AC52-A46321747EAF}" type="slidenum">
              <a:rPr lang="en-GB" sz="800" smtClean="0">
                <a:solidFill>
                  <a:schemeClr val="bg1"/>
                </a:solidFill>
                <a:latin typeface="EYInterstate" panose="02000503020000020004" pitchFamily="2" charset="0"/>
              </a:rPr>
              <a:pPr/>
              <a:t>‹#›</a:t>
            </a:fld>
            <a:endParaRPr lang="en-GB" sz="800">
              <a:solidFill>
                <a:schemeClr val="bg1"/>
              </a:solidFill>
              <a:latin typeface="EYInterstate" panose="02000503020000020004" pitchFamily="2" charset="0"/>
            </a:endParaRPr>
          </a:p>
        </p:txBody>
      </p:sp>
      <p:sp>
        <p:nvSpPr>
          <p:cNvPr id="9" name="Rectangle 8">
            <a:extLst>
              <a:ext uri="{FF2B5EF4-FFF2-40B4-BE49-F238E27FC236}">
                <a16:creationId xmlns:a16="http://schemas.microsoft.com/office/drawing/2014/main" id="{1B01CC5A-CB0D-6444-BC03-E3E3D3C2DFAA}"/>
              </a:ext>
            </a:extLst>
          </p:cNvPr>
          <p:cNvSpPr/>
          <p:nvPr/>
        </p:nvSpPr>
        <p:spPr>
          <a:xfrm>
            <a:off x="4038601" y="6468364"/>
            <a:ext cx="4114800" cy="182880"/>
          </a:xfrm>
          <a:prstGeom prst="rect">
            <a:avLst/>
          </a:prstGeom>
        </p:spPr>
        <p:txBody>
          <a:bodyPr vert="horz" wrap="none" lIns="0" tIns="0" rIns="0" bIns="0" rtlCol="0" anchor="ctr" anchorCtr="0">
            <a:noAutofit/>
          </a:bodyPr>
          <a:lstStyle/>
          <a:p>
            <a:pPr lvl="0" algn="ctr"/>
            <a:r>
              <a:rPr lang="en-US" sz="800">
                <a:solidFill>
                  <a:schemeClr val="bg1"/>
                </a:solidFill>
                <a:latin typeface="EYInterstate" panose="02000503020000020004" pitchFamily="2" charset="0"/>
                <a:cs typeface="Arial" pitchFamily="34" charset="0"/>
              </a:rPr>
              <a:t>Future Tax Leaders Program: EY Exempt Organization Tax Services</a:t>
            </a:r>
          </a:p>
        </p:txBody>
      </p:sp>
      <p:sp>
        <p:nvSpPr>
          <p:cNvPr id="10" name="Rectangle 9">
            <a:extLst>
              <a:ext uri="{FF2B5EF4-FFF2-40B4-BE49-F238E27FC236}">
                <a16:creationId xmlns:a16="http://schemas.microsoft.com/office/drawing/2014/main" id="{AC1931CF-CFBB-C147-E5B7-5EC331878F24}"/>
              </a:ext>
            </a:extLst>
          </p:cNvPr>
          <p:cNvSpPr/>
          <p:nvPr/>
        </p:nvSpPr>
        <p:spPr>
          <a:xfrm>
            <a:off x="1007010" y="6468364"/>
            <a:ext cx="1188720" cy="182880"/>
          </a:xfrm>
          <a:prstGeom prst="rect">
            <a:avLst/>
          </a:prstGeom>
        </p:spPr>
        <p:txBody>
          <a:bodyPr vert="horz" wrap="none" lIns="0" tIns="0" rIns="0" bIns="0" rtlCol="0" anchor="ctr" anchorCtr="0">
            <a:noAutofit/>
          </a:bodyPr>
          <a:lstStyle/>
          <a:p>
            <a:pPr lvl="0"/>
            <a:r>
              <a:rPr lang="en-US" sz="800">
                <a:solidFill>
                  <a:schemeClr val="bg1"/>
                </a:solidFill>
                <a:latin typeface="EYInterstate" panose="02000503020000020004" pitchFamily="2" charset="0"/>
                <a:cs typeface="Arial" pitchFamily="34" charset="0"/>
              </a:rPr>
              <a:t>March 2025</a:t>
            </a:r>
          </a:p>
        </p:txBody>
      </p:sp>
      <p:grpSp>
        <p:nvGrpSpPr>
          <p:cNvPr id="5" name="Group 4">
            <a:extLst>
              <a:ext uri="{FF2B5EF4-FFF2-40B4-BE49-F238E27FC236}">
                <a16:creationId xmlns:a16="http://schemas.microsoft.com/office/drawing/2014/main" id="{98CE0687-827E-3B7C-6BFA-0D847C95002E}"/>
              </a:ext>
            </a:extLst>
          </p:cNvPr>
          <p:cNvGrpSpPr>
            <a:grpSpLocks noChangeAspect="1"/>
          </p:cNvGrpSpPr>
          <p:nvPr userDrawn="1"/>
        </p:nvGrpSpPr>
        <p:grpSpPr bwMode="auto">
          <a:xfrm>
            <a:off x="11281250" y="6356350"/>
            <a:ext cx="303055" cy="311150"/>
            <a:chOff x="7110" y="4004"/>
            <a:chExt cx="191" cy="196"/>
          </a:xfrm>
        </p:grpSpPr>
        <p:sp>
          <p:nvSpPr>
            <p:cNvPr id="11" name="Freeform 5">
              <a:extLst>
                <a:ext uri="{FF2B5EF4-FFF2-40B4-BE49-F238E27FC236}">
                  <a16:creationId xmlns:a16="http://schemas.microsoft.com/office/drawing/2014/main" id="{C98EE5BB-9692-E1B1-2F5D-69E652769F9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2" name="Freeform 6">
              <a:extLst>
                <a:ext uri="{FF2B5EF4-FFF2-40B4-BE49-F238E27FC236}">
                  <a16:creationId xmlns:a16="http://schemas.microsoft.com/office/drawing/2014/main" id="{1FF7C8A3-1BFF-E976-FA90-D7781AF8B7B6}"/>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sp>
          <p:nvSpPr>
            <p:cNvPr id="14" name="Freeform 7">
              <a:extLst>
                <a:ext uri="{FF2B5EF4-FFF2-40B4-BE49-F238E27FC236}">
                  <a16:creationId xmlns:a16="http://schemas.microsoft.com/office/drawing/2014/main" id="{C194E096-FC86-918E-5CC3-D19A09040E66}"/>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9"/>
            </a:p>
          </p:txBody>
        </p:sp>
      </p:grpSp>
    </p:spTree>
    <p:extLst>
      <p:ext uri="{BB962C8B-B14F-4D97-AF65-F5344CB8AC3E}">
        <p14:creationId xmlns:p14="http://schemas.microsoft.com/office/powerpoint/2010/main" val="2178323183"/>
      </p:ext>
    </p:extLst>
  </p:cSld>
  <p:clrMap bg1="lt1" tx1="dk1" bg2="lt2" tx2="dk2" accent1="accent1" accent2="accent2" accent3="accent3" accent4="accent4" accent5="accent5" accent6="accent6" hlink="hlink" folHlink="folHlink"/>
  <p:sldLayoutIdLst>
    <p:sldLayoutId id="2147484096" r:id="rId1"/>
    <p:sldLayoutId id="2147484095" r:id="rId2"/>
    <p:sldLayoutId id="2147484079" r:id="rId3"/>
  </p:sldLayoutIdLst>
  <p:hf hdr="0"/>
  <p:txStyles>
    <p:titleStyle>
      <a:lvl1pPr algn="l" defTabSz="914400" rtl="0" eaLnBrk="1" latinLnBrk="0" hangingPunct="1">
        <a:lnSpc>
          <a:spcPct val="85000"/>
        </a:lnSpc>
        <a:spcBef>
          <a:spcPct val="0"/>
        </a:spcBef>
        <a:buNone/>
        <a:defRPr sz="3600" b="1" i="0" kern="1200">
          <a:solidFill>
            <a:schemeClr val="tx2"/>
          </a:solidFill>
          <a:latin typeface="EYInterstate" panose="02000503020000020004" pitchFamily="2" charset="0"/>
          <a:ea typeface="+mj-ea"/>
          <a:cs typeface="Arial" pitchFamily="34" charset="0"/>
        </a:defRPr>
      </a:lvl1pPr>
    </p:titleStyle>
    <p:body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2000" kern="1200">
          <a:solidFill>
            <a:schemeClr val="bg1"/>
          </a:solidFill>
          <a:latin typeface="+mn-lt"/>
          <a:ea typeface="+mn-ea"/>
          <a:cs typeface="+mn-cs"/>
        </a:defRPr>
      </a:lvl2pPr>
      <a:lvl3pPr marL="756000" indent="-252000" algn="l" defTabSz="914400" rtl="0" eaLnBrk="1" latinLnBrk="0" hangingPunct="1">
        <a:spcBef>
          <a:spcPts val="0"/>
        </a:spcBef>
        <a:spcAft>
          <a:spcPts val="600"/>
        </a:spcAft>
        <a:buClr>
          <a:schemeClr val="tx2"/>
        </a:buClr>
        <a:buSzPct val="100000"/>
        <a:buFont typeface="Wingdings" pitchFamily="2" charset="2"/>
        <a:buChar char="§"/>
        <a:defRPr sz="1800" kern="1200">
          <a:solidFill>
            <a:schemeClr val="bg1"/>
          </a:solidFill>
          <a:latin typeface="+mn-lt"/>
          <a:ea typeface="+mn-ea"/>
          <a:cs typeface="+mn-cs"/>
        </a:defRPr>
      </a:lvl3pPr>
      <a:lvl4pPr marL="1008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4pPr>
      <a:lvl5pPr marL="1260000" indent="-252000" algn="l" defTabSz="914400" rtl="0" eaLnBrk="1" latinLnBrk="0" hangingPunct="1">
        <a:spcBef>
          <a:spcPts val="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5pPr>
      <a:lvl6pPr marL="1512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6pPr>
      <a:lvl7pPr marL="1764000" indent="-252000" algn="l" defTabSz="914400" rtl="0" eaLnBrk="1" latinLnBrk="0" hangingPunct="1">
        <a:spcBef>
          <a:spcPts val="0"/>
        </a:spcBef>
        <a:spcAft>
          <a:spcPts val="400"/>
        </a:spcAft>
        <a:buClr>
          <a:schemeClr val="tx2"/>
        </a:buClr>
        <a:buFont typeface="Wingdings" pitchFamily="2" charset="2"/>
        <a:buChar char="§"/>
        <a:tabLst/>
        <a:defRPr sz="1400" kern="1200">
          <a:solidFill>
            <a:schemeClr val="bg1"/>
          </a:solidFill>
          <a:latin typeface="+mn-lt"/>
          <a:ea typeface="+mn-ea"/>
          <a:cs typeface="+mn-cs"/>
        </a:defRPr>
      </a:lvl7pPr>
      <a:lvl8pPr marL="2016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9" pos="7374" userDrawn="1">
          <p15:clr>
            <a:srgbClr val="F26B43"/>
          </p15:clr>
        </p15:guide>
        <p15:guide id="35" pos="302" userDrawn="1">
          <p15:clr>
            <a:srgbClr val="F26B43"/>
          </p15:clr>
        </p15:guide>
        <p15:guide id="36" orient="horz" pos="210" userDrawn="1">
          <p15:clr>
            <a:srgbClr val="F26B43"/>
          </p15:clr>
        </p15:guide>
        <p15:guide id="37" orient="horz" pos="527" userDrawn="1">
          <p15:clr>
            <a:srgbClr val="F26B43"/>
          </p15:clr>
        </p15:guide>
        <p15:guide id="38" orient="horz" pos="890" userDrawn="1">
          <p15:clr>
            <a:srgbClr val="F26B43"/>
          </p15:clr>
        </p15:guide>
        <p15:guide id="39" orient="horz" pos="383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8.xml"/><Relationship Id="rId1" Type="http://schemas.openxmlformats.org/officeDocument/2006/relationships/themeOverride" Target="../theme/themeOverride3.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4.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9.xml"/><Relationship Id="rId1" Type="http://schemas.openxmlformats.org/officeDocument/2006/relationships/themeOverride" Target="../theme/themeOverride4.xml"/><Relationship Id="rId6" Type="http://schemas.openxmlformats.org/officeDocument/2006/relationships/image" Target="../media/image17.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0.xml"/><Relationship Id="rId1" Type="http://schemas.openxmlformats.org/officeDocument/2006/relationships/themeOverride" Target="../theme/themeOverride5.xml"/><Relationship Id="rId5" Type="http://schemas.openxmlformats.org/officeDocument/2006/relationships/image" Target="../media/image17.emf"/><Relationship Id="rId4" Type="http://schemas.openxmlformats.org/officeDocument/2006/relationships/oleObject" Target="../embeddings/oleObject6.bin"/></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1.xml"/><Relationship Id="rId1" Type="http://schemas.openxmlformats.org/officeDocument/2006/relationships/themeOverride" Target="../theme/themeOverride6.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hyperlink" Target="https://www.irs.gov/government-entities/tax-exempt-government-entities-compliance-program-and-priorities#:~:text=Our%20compliance%20program%20involves%20a,a%20robust%20feedback%20mechanism%20to" TargetMode="External"/><Relationship Id="rId2" Type="http://schemas.openxmlformats.org/officeDocument/2006/relationships/tags" Target="../tags/tag12.xml"/><Relationship Id="rId1" Type="http://schemas.openxmlformats.org/officeDocument/2006/relationships/themeOverride" Target="../theme/themeOverride7.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8.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3.xml"/><Relationship Id="rId1" Type="http://schemas.openxmlformats.org/officeDocument/2006/relationships/themeOverride" Target="../theme/themeOverride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9.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4.xml"/><Relationship Id="rId1" Type="http://schemas.openxmlformats.org/officeDocument/2006/relationships/themeOverride" Target="../theme/themeOverride9.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5.xml"/><Relationship Id="rId1" Type="http://schemas.openxmlformats.org/officeDocument/2006/relationships/themeOverride" Target="../theme/themeOverride1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16.xml"/><Relationship Id="rId1" Type="http://schemas.openxmlformats.org/officeDocument/2006/relationships/themeOverride" Target="../theme/themeOverride11.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4.xml"/></Relationships>
</file>

<file path=ppt/slides/_rels/slide23.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slideLayout" Target="../slideLayouts/slideLayout24.xml"/><Relationship Id="rId7" Type="http://schemas.openxmlformats.org/officeDocument/2006/relationships/image" Target="../media/image21.jpeg"/><Relationship Id="rId2" Type="http://schemas.openxmlformats.org/officeDocument/2006/relationships/tags" Target="../tags/tag17.xml"/><Relationship Id="rId1" Type="http://schemas.openxmlformats.org/officeDocument/2006/relationships/themeOverride" Target="../theme/themeOverride12.xml"/><Relationship Id="rId6" Type="http://schemas.openxmlformats.org/officeDocument/2006/relationships/image" Target="../media/image17.emf"/><Relationship Id="rId5" Type="http://schemas.openxmlformats.org/officeDocument/2006/relationships/oleObject" Target="../embeddings/oleObject8.bin"/><Relationship Id="rId4" Type="http://schemas.openxmlformats.org/officeDocument/2006/relationships/notesSlide" Target="../notesSlides/notesSlide15.xml"/><Relationship Id="rId9" Type="http://schemas.openxmlformats.org/officeDocument/2006/relationships/image" Target="../media/image23.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24.jpeg"/><Relationship Id="rId2" Type="http://schemas.openxmlformats.org/officeDocument/2006/relationships/tags" Target="../tags/tag18.xml"/><Relationship Id="rId1" Type="http://schemas.openxmlformats.org/officeDocument/2006/relationships/themeOverride" Target="../theme/themeOverride13.xml"/><Relationship Id="rId6" Type="http://schemas.openxmlformats.org/officeDocument/2006/relationships/image" Target="../media/image17.emf"/><Relationship Id="rId5" Type="http://schemas.openxmlformats.org/officeDocument/2006/relationships/oleObject" Target="../embeddings/oleObject9.bin"/><Relationship Id="rId4" Type="http://schemas.openxmlformats.org/officeDocument/2006/relationships/notesSlide" Target="../notesSlides/notesSlide1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25.jpeg"/><Relationship Id="rId2" Type="http://schemas.openxmlformats.org/officeDocument/2006/relationships/tags" Target="../tags/tag19.xml"/><Relationship Id="rId1" Type="http://schemas.openxmlformats.org/officeDocument/2006/relationships/themeOverride" Target="../theme/themeOverride14.xml"/><Relationship Id="rId6" Type="http://schemas.openxmlformats.org/officeDocument/2006/relationships/image" Target="../media/image17.emf"/><Relationship Id="rId5" Type="http://schemas.openxmlformats.org/officeDocument/2006/relationships/oleObject" Target="../embeddings/oleObject5.bin"/><Relationship Id="rId4" Type="http://schemas.openxmlformats.org/officeDocument/2006/relationships/notesSlide" Target="../notesSlides/notesSlide17.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0.xml"/><Relationship Id="rId1" Type="http://schemas.openxmlformats.org/officeDocument/2006/relationships/themeOverride" Target="../theme/themeOverride15.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8.xml"/></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1.xml"/><Relationship Id="rId1" Type="http://schemas.openxmlformats.org/officeDocument/2006/relationships/themeOverride" Target="../theme/themeOverride16.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19.xml"/></Relationships>
</file>

<file path=ppt/slides/_rels/slide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24.xml"/><Relationship Id="rId6" Type="http://schemas.openxmlformats.org/officeDocument/2006/relationships/image" Target="../media/image16.jpeg"/><Relationship Id="rId5" Type="http://schemas.openxmlformats.org/officeDocument/2006/relationships/image" Target="../media/image15.png"/><Relationship Id="rId4" Type="http://schemas.openxmlformats.org/officeDocument/2006/relationships/image" Target="../media/image14.sv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2.xml"/><Relationship Id="rId1" Type="http://schemas.openxmlformats.org/officeDocument/2006/relationships/themeOverride" Target="../theme/themeOverride17.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2.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3.xml"/><Relationship Id="rId1" Type="http://schemas.openxmlformats.org/officeDocument/2006/relationships/themeOverride" Target="../theme/themeOverride1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3.xml"/></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4.xml"/><Relationship Id="rId1" Type="http://schemas.openxmlformats.org/officeDocument/2006/relationships/themeOverride" Target="../theme/themeOverride19.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4.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5.xml"/><Relationship Id="rId1" Type="http://schemas.openxmlformats.org/officeDocument/2006/relationships/themeOverride" Target="../theme/themeOverride2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5.xml"/></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6.xml"/><Relationship Id="rId1" Type="http://schemas.openxmlformats.org/officeDocument/2006/relationships/themeOverride" Target="../theme/themeOverride21.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hyperlink" Target="https://www.irs.gov/government-entities/tax-exempt-government-entities-compliance-program-and-priorities" TargetMode="External"/><Relationship Id="rId2" Type="http://schemas.openxmlformats.org/officeDocument/2006/relationships/tags" Target="../tags/tag27.xml"/><Relationship Id="rId1" Type="http://schemas.openxmlformats.org/officeDocument/2006/relationships/themeOverride" Target="../theme/themeOverride2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8.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28.xml"/><Relationship Id="rId1" Type="http://schemas.openxmlformats.org/officeDocument/2006/relationships/themeOverride" Target="../theme/themeOverride23.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2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4.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image" Target="../media/image26.jpeg"/><Relationship Id="rId2" Type="http://schemas.openxmlformats.org/officeDocument/2006/relationships/tags" Target="../tags/tag29.xml"/><Relationship Id="rId1" Type="http://schemas.openxmlformats.org/officeDocument/2006/relationships/themeOverride" Target="../theme/themeOverride24.xml"/><Relationship Id="rId6" Type="http://schemas.openxmlformats.org/officeDocument/2006/relationships/image" Target="../media/image17.emf"/><Relationship Id="rId5" Type="http://schemas.openxmlformats.org/officeDocument/2006/relationships/oleObject" Target="../embeddings/oleObject5.bin"/><Relationship Id="rId4" Type="http://schemas.openxmlformats.org/officeDocument/2006/relationships/notesSlide" Target="../notesSlides/notesSlide32.xml"/></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0.xml"/><Relationship Id="rId1" Type="http://schemas.openxmlformats.org/officeDocument/2006/relationships/themeOverride" Target="../theme/themeOverride25.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33.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1.xml"/><Relationship Id="rId1" Type="http://schemas.openxmlformats.org/officeDocument/2006/relationships/themeOverride" Target="../theme/themeOverride26.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3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2.xml"/><Relationship Id="rId1" Type="http://schemas.openxmlformats.org/officeDocument/2006/relationships/themeOverride" Target="../theme/themeOverride27.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35.xml"/></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3.xml"/><Relationship Id="rId1" Type="http://schemas.openxmlformats.org/officeDocument/2006/relationships/themeOverride" Target="../theme/themeOverride28.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36.xml"/></Relationships>
</file>

<file path=ppt/slides/_rels/slide47.xml.rels><?xml version="1.0" encoding="UTF-8" standalone="yes"?>
<Relationships xmlns="http://schemas.openxmlformats.org/package/2006/relationships"><Relationship Id="rId8" Type="http://schemas.openxmlformats.org/officeDocument/2006/relationships/hyperlink" Target="https://taxnews.ey.com/news/2025-0548" TargetMode="External"/><Relationship Id="rId13" Type="http://schemas.openxmlformats.org/officeDocument/2006/relationships/hyperlink" Target="https://taxnews.ey.com/news/2023-0935" TargetMode="External"/><Relationship Id="rId3" Type="http://schemas.openxmlformats.org/officeDocument/2006/relationships/slideLayout" Target="../slideLayouts/slideLayout24.xml"/><Relationship Id="rId7" Type="http://schemas.openxmlformats.org/officeDocument/2006/relationships/hyperlink" Target="https://taxnews.ey.com/news/2024-1895" TargetMode="External"/><Relationship Id="rId12" Type="http://schemas.openxmlformats.org/officeDocument/2006/relationships/hyperlink" Target="https://taxnews.ey.com/news/2024-2102" TargetMode="External"/><Relationship Id="rId2" Type="http://schemas.openxmlformats.org/officeDocument/2006/relationships/tags" Target="../tags/tag34.xml"/><Relationship Id="rId1" Type="http://schemas.openxmlformats.org/officeDocument/2006/relationships/themeOverride" Target="../theme/themeOverride29.xml"/><Relationship Id="rId6" Type="http://schemas.openxmlformats.org/officeDocument/2006/relationships/image" Target="../media/image17.emf"/><Relationship Id="rId11" Type="http://schemas.openxmlformats.org/officeDocument/2006/relationships/hyperlink" Target="https://taxnews.ey.com/news/2024-2329" TargetMode="External"/><Relationship Id="rId5" Type="http://schemas.openxmlformats.org/officeDocument/2006/relationships/oleObject" Target="../embeddings/oleObject7.bin"/><Relationship Id="rId10" Type="http://schemas.openxmlformats.org/officeDocument/2006/relationships/hyperlink" Target="https://taxnews.ey.com/news/2024-2360" TargetMode="External"/><Relationship Id="rId4" Type="http://schemas.openxmlformats.org/officeDocument/2006/relationships/notesSlide" Target="../notesSlides/notesSlide37.xml"/><Relationship Id="rId9" Type="http://schemas.openxmlformats.org/officeDocument/2006/relationships/hyperlink" Target="https://taxnews.ey.com/news/2025-0305" TargetMode="External"/><Relationship Id="rId14" Type="http://schemas.openxmlformats.org/officeDocument/2006/relationships/hyperlink" Target="https://taxnews.ey.com/news/2024-1957" TargetMode="Externa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4.xml"/><Relationship Id="rId1" Type="http://schemas.openxmlformats.org/officeDocument/2006/relationships/tags" Target="../tags/tag5.xml"/><Relationship Id="rId4" Type="http://schemas.openxmlformats.org/officeDocument/2006/relationships/image" Target="../media/image1.emf"/></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5.xml"/><Relationship Id="rId1" Type="http://schemas.openxmlformats.org/officeDocument/2006/relationships/themeOverride" Target="../theme/themeOverride30.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40.xml"/></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24.xml"/><Relationship Id="rId7" Type="http://schemas.openxmlformats.org/officeDocument/2006/relationships/hyperlink" Target="https://www.irs.gov/pub/irs-wd/202405011.pdf" TargetMode="External"/><Relationship Id="rId2" Type="http://schemas.openxmlformats.org/officeDocument/2006/relationships/tags" Target="../tags/tag36.xml"/><Relationship Id="rId1" Type="http://schemas.openxmlformats.org/officeDocument/2006/relationships/themeOverride" Target="../theme/themeOverride31.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41.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37.xml"/><Relationship Id="rId1" Type="http://schemas.openxmlformats.org/officeDocument/2006/relationships/themeOverride" Target="../theme/themeOverride32.xml"/><Relationship Id="rId6" Type="http://schemas.openxmlformats.org/officeDocument/2006/relationships/image" Target="../media/image17.emf"/><Relationship Id="rId5" Type="http://schemas.openxmlformats.org/officeDocument/2006/relationships/oleObject" Target="../embeddings/oleObject7.bin"/><Relationship Id="rId4" Type="http://schemas.openxmlformats.org/officeDocument/2006/relationships/notesSlide" Target="../notesSlides/notesSlide42.xml"/></Relationships>
</file>

<file path=ppt/slides/_rels/slide53.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40.xml"/><Relationship Id="rId1" Type="http://schemas.openxmlformats.org/officeDocument/2006/relationships/tags" Target="../tags/tag38.xml"/><Relationship Id="rId5" Type="http://schemas.openxmlformats.org/officeDocument/2006/relationships/image" Target="../media/image17.emf"/><Relationship Id="rId4" Type="http://schemas.openxmlformats.org/officeDocument/2006/relationships/oleObject" Target="../embeddings/oleObject10.bin"/></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5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6.xml"/><Relationship Id="rId1" Type="http://schemas.openxmlformats.org/officeDocument/2006/relationships/themeOverride" Target="../theme/themeOverride1.xml"/><Relationship Id="rId6" Type="http://schemas.openxmlformats.org/officeDocument/2006/relationships/image" Target="../media/image18.jpeg"/><Relationship Id="rId5" Type="http://schemas.openxmlformats.org/officeDocument/2006/relationships/image" Target="../media/image17.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4.xml"/><Relationship Id="rId2" Type="http://schemas.openxmlformats.org/officeDocument/2006/relationships/tags" Target="../tags/tag7.xml"/><Relationship Id="rId1" Type="http://schemas.openxmlformats.org/officeDocument/2006/relationships/themeOverride" Target="../theme/themeOverride2.xml"/><Relationship Id="rId6" Type="http://schemas.openxmlformats.org/officeDocument/2006/relationships/image" Target="../media/image19.jpeg"/><Relationship Id="rId5" Type="http://schemas.openxmlformats.org/officeDocument/2006/relationships/image" Target="../media/image17.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FA177AE-6541-4916-2DDE-C8F3329DAAC0}"/>
              </a:ext>
            </a:extLst>
          </p:cNvPr>
          <p:cNvSpPr>
            <a:spLocks noGrp="1"/>
          </p:cNvSpPr>
          <p:nvPr>
            <p:ph type="body" sz="quarter" idx="10"/>
          </p:nvPr>
        </p:nvSpPr>
        <p:spPr>
          <a:xfrm>
            <a:off x="889000" y="4967288"/>
            <a:ext cx="4906963" cy="277812"/>
          </a:xfrm>
        </p:spPr>
        <p:txBody>
          <a:bodyPr/>
          <a:lstStyle/>
          <a:p>
            <a:r>
              <a:rPr lang="en-US" dirty="0"/>
              <a:t>March 27, 2025</a:t>
            </a:r>
          </a:p>
        </p:txBody>
      </p:sp>
      <p:sp>
        <p:nvSpPr>
          <p:cNvPr id="6" name="Subtitle 5">
            <a:extLst>
              <a:ext uri="{FF2B5EF4-FFF2-40B4-BE49-F238E27FC236}">
                <a16:creationId xmlns:a16="http://schemas.microsoft.com/office/drawing/2014/main" id="{0C45819E-10D6-68D4-776A-2FCB61F96C62}"/>
              </a:ext>
            </a:extLst>
          </p:cNvPr>
          <p:cNvSpPr>
            <a:spLocks noGrp="1"/>
          </p:cNvSpPr>
          <p:nvPr>
            <p:ph type="subTitle" idx="1"/>
          </p:nvPr>
        </p:nvSpPr>
        <p:spPr>
          <a:xfrm>
            <a:off x="889000" y="4440238"/>
            <a:ext cx="4908550" cy="273050"/>
          </a:xfrm>
        </p:spPr>
        <p:txBody>
          <a:bodyPr/>
          <a:lstStyle/>
          <a:p>
            <a:r>
              <a:rPr lang="en-US" dirty="0"/>
              <a:t>Future Tax Leaders Program</a:t>
            </a:r>
          </a:p>
        </p:txBody>
      </p:sp>
      <p:sp>
        <p:nvSpPr>
          <p:cNvPr id="4" name="Title 3">
            <a:extLst>
              <a:ext uri="{FF2B5EF4-FFF2-40B4-BE49-F238E27FC236}">
                <a16:creationId xmlns:a16="http://schemas.microsoft.com/office/drawing/2014/main" id="{CEC31B46-C141-B712-9C45-AAD49547C247}"/>
              </a:ext>
            </a:extLst>
          </p:cNvPr>
          <p:cNvSpPr>
            <a:spLocks noGrp="1"/>
          </p:cNvSpPr>
          <p:nvPr>
            <p:ph type="title"/>
          </p:nvPr>
        </p:nvSpPr>
        <p:spPr>
          <a:xfrm>
            <a:off x="889762" y="2698752"/>
            <a:ext cx="4906009" cy="1488702"/>
          </a:xfrm>
        </p:spPr>
        <p:txBody>
          <a:bodyPr/>
          <a:lstStyle/>
          <a:p>
            <a:r>
              <a:rPr lang="en-IN" dirty="0"/>
              <a:t>Form 990 and IRS updates</a:t>
            </a:r>
            <a:endParaRPr lang="en-US" dirty="0"/>
          </a:p>
        </p:txBody>
      </p:sp>
    </p:spTree>
    <p:extLst>
      <p:ext uri="{BB962C8B-B14F-4D97-AF65-F5344CB8AC3E}">
        <p14:creationId xmlns:p14="http://schemas.microsoft.com/office/powerpoint/2010/main" val="33598287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5F29B087-82CA-6372-B051-F2B172135FBC}"/>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52B97E-244A-7B24-F0CF-8A752ACB8727}"/>
              </a:ext>
            </a:extLst>
          </p:cNvPr>
          <p:cNvGraphicFramePr>
            <a:graphicFrameLocks noChangeAspect="1"/>
          </p:cNvGraphicFramePr>
          <p:nvPr>
            <p:custDataLst>
              <p:tags r:id="rId2"/>
            </p:custDataLst>
            <p:extLst>
              <p:ext uri="{D42A27DB-BD31-4B8C-83A1-F6EECF244321}">
                <p14:modId xmlns:p14="http://schemas.microsoft.com/office/powerpoint/2010/main" val="1952570650"/>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B052B97E-244A-7B24-F0CF-8A752ACB8727}"/>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A5D1BB8-38EC-DF70-4C24-DC0037C69D34}"/>
              </a:ext>
            </a:extLst>
          </p:cNvPr>
          <p:cNvSpPr>
            <a:spLocks noGrp="1"/>
          </p:cNvSpPr>
          <p:nvPr>
            <p:ph type="title"/>
          </p:nvPr>
        </p:nvSpPr>
        <p:spPr>
          <a:xfrm>
            <a:off x="488949" y="346075"/>
            <a:ext cx="11223625" cy="469900"/>
          </a:xfrm>
        </p:spPr>
        <p:txBody>
          <a:bodyPr vert="horz"/>
          <a:lstStyle/>
          <a:p>
            <a:r>
              <a:rPr lang="en-IN" dirty="0"/>
              <a:t>IRS tax exempt and government entities division (TE/GE)</a:t>
            </a:r>
            <a:endParaRPr lang="en-US" dirty="0"/>
          </a:p>
        </p:txBody>
      </p:sp>
      <p:sp>
        <p:nvSpPr>
          <p:cNvPr id="3" name="Content Placeholder 2">
            <a:extLst>
              <a:ext uri="{FF2B5EF4-FFF2-40B4-BE49-F238E27FC236}">
                <a16:creationId xmlns:a16="http://schemas.microsoft.com/office/drawing/2014/main" id="{69C1B75C-4AE3-05DD-14FD-4543F5E5FC79}"/>
              </a:ext>
            </a:extLst>
          </p:cNvPr>
          <p:cNvSpPr>
            <a:spLocks noGrp="1"/>
          </p:cNvSpPr>
          <p:nvPr>
            <p:ph type="body" sz="quarter" idx="4294967295"/>
          </p:nvPr>
        </p:nvSpPr>
        <p:spPr>
          <a:xfrm>
            <a:off x="479424" y="1412875"/>
            <a:ext cx="11233150" cy="4667138"/>
          </a:xfrm>
        </p:spPr>
        <p:txBody>
          <a:bodyPr/>
          <a:lstStyle/>
          <a:p>
            <a:pPr marL="365760" indent="-365760">
              <a:spcBef>
                <a:spcPts val="0"/>
              </a:spcBef>
              <a:spcAft>
                <a:spcPts val="600"/>
              </a:spcAft>
            </a:pPr>
            <a:r>
              <a:rPr lang="en-IN" dirty="0"/>
              <a:t>What is TE/GE? </a:t>
            </a:r>
          </a:p>
          <a:p>
            <a:pPr marL="731520" indent="-365760">
              <a:spcBef>
                <a:spcPts val="0"/>
              </a:spcBef>
              <a:spcAft>
                <a:spcPts val="600"/>
              </a:spcAft>
            </a:pPr>
            <a:r>
              <a:rPr lang="en-IN" dirty="0"/>
              <a:t>Division of IRS that regulates retirement plans, exempt organizations, federal/state/local governments and Indian tribes, and tax-exempt bonds</a:t>
            </a:r>
          </a:p>
          <a:p>
            <a:pPr marL="365760" indent="-365760">
              <a:spcBef>
                <a:spcPts val="0"/>
              </a:spcBef>
              <a:spcAft>
                <a:spcPts val="600"/>
              </a:spcAft>
            </a:pPr>
            <a:r>
              <a:rPr lang="en-IN" dirty="0"/>
              <a:t>TE/GE’s role and functions:</a:t>
            </a:r>
          </a:p>
          <a:p>
            <a:pPr marL="731520" indent="-365760">
              <a:spcBef>
                <a:spcPts val="0"/>
              </a:spcBef>
              <a:spcAft>
                <a:spcPts val="600"/>
              </a:spcAft>
            </a:pPr>
            <a:r>
              <a:rPr lang="en-IN" dirty="0"/>
              <a:t>Consider determination requests and issue determination letters</a:t>
            </a:r>
          </a:p>
          <a:p>
            <a:pPr marL="731520" indent="-365760">
              <a:spcBef>
                <a:spcPts val="0"/>
              </a:spcBef>
              <a:spcAft>
                <a:spcPts val="600"/>
              </a:spcAft>
            </a:pPr>
            <a:r>
              <a:rPr lang="en-IN" dirty="0"/>
              <a:t>Examine tax-exempt organizations for compliance with federal tax law</a:t>
            </a:r>
          </a:p>
          <a:p>
            <a:pPr marL="731520" indent="-365760">
              <a:spcBef>
                <a:spcPts val="0"/>
              </a:spcBef>
              <a:spcAft>
                <a:spcPts val="600"/>
              </a:spcAft>
            </a:pPr>
            <a:r>
              <a:rPr lang="en-IN" dirty="0"/>
              <a:t>Educate through compliance contacts, outreach and stakeholder partnership</a:t>
            </a:r>
          </a:p>
          <a:p>
            <a:pPr marL="731520" indent="-365760">
              <a:spcBef>
                <a:spcPts val="0"/>
              </a:spcBef>
              <a:spcAft>
                <a:spcPts val="600"/>
              </a:spcAft>
            </a:pPr>
            <a:r>
              <a:rPr lang="en-IN" dirty="0"/>
              <a:t>Offer programs to enable tax-exempt organizations to voluntarily correct mistakes and maintain compliance</a:t>
            </a:r>
          </a:p>
          <a:p>
            <a:pPr marL="365760" indent="-365760">
              <a:spcBef>
                <a:spcPts val="0"/>
              </a:spcBef>
              <a:spcAft>
                <a:spcPts val="600"/>
              </a:spcAft>
            </a:pPr>
            <a:r>
              <a:rPr lang="en-IN" dirty="0"/>
              <a:t>TE/GE’s priorities for FY25:</a:t>
            </a:r>
          </a:p>
          <a:p>
            <a:pPr marL="731520" indent="-365760">
              <a:spcBef>
                <a:spcPts val="0"/>
              </a:spcBef>
              <a:spcAft>
                <a:spcPts val="600"/>
              </a:spcAft>
            </a:pPr>
            <a:r>
              <a:rPr lang="en-IN" dirty="0"/>
              <a:t>Better taxpayer experience</a:t>
            </a:r>
          </a:p>
          <a:p>
            <a:pPr marL="731520" indent="-365760">
              <a:spcBef>
                <a:spcPts val="0"/>
              </a:spcBef>
              <a:spcAft>
                <a:spcPts val="600"/>
              </a:spcAft>
            </a:pPr>
            <a:r>
              <a:rPr lang="en-IN" dirty="0"/>
              <a:t>Faster issue resolution</a:t>
            </a:r>
          </a:p>
          <a:p>
            <a:pPr marL="731520" indent="-365760">
              <a:spcBef>
                <a:spcPts val="0"/>
              </a:spcBef>
              <a:spcAft>
                <a:spcPts val="600"/>
              </a:spcAft>
            </a:pPr>
            <a:r>
              <a:rPr lang="en-IN" dirty="0"/>
              <a:t>Smarter enforcement</a:t>
            </a:r>
          </a:p>
          <a:p>
            <a:pPr marL="731520" indent="-365760">
              <a:spcBef>
                <a:spcPts val="0"/>
              </a:spcBef>
              <a:spcAft>
                <a:spcPts val="600"/>
              </a:spcAft>
            </a:pPr>
            <a:r>
              <a:rPr lang="en-IN" dirty="0"/>
              <a:t>Advanced technology and analytics</a:t>
            </a:r>
          </a:p>
          <a:p>
            <a:pPr marL="731520" indent="-365760">
              <a:spcBef>
                <a:spcPts val="0"/>
              </a:spcBef>
              <a:spcAft>
                <a:spcPts val="600"/>
              </a:spcAft>
            </a:pPr>
            <a:r>
              <a:rPr lang="en-IN" dirty="0"/>
              <a:t>Empowered employees</a:t>
            </a:r>
          </a:p>
        </p:txBody>
      </p:sp>
    </p:spTree>
    <p:extLst>
      <p:ext uri="{BB962C8B-B14F-4D97-AF65-F5344CB8AC3E}">
        <p14:creationId xmlns:p14="http://schemas.microsoft.com/office/powerpoint/2010/main" val="862343757"/>
      </p:ext>
    </p:extLst>
  </p:cSld>
  <p:clrMapOvr>
    <a:overrideClrMapping bg1="lt1" tx1="dk1" bg2="lt2" tx2="dk2" accent1="accent1" accent2="accent2" accent3="accent3" accent4="accent4" accent5="accent5" accent6="accent6" hlink="hlink" folHlink="folHlink"/>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804223A8-9FCF-5C69-7784-615A0344774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767A85C-B6CB-77F3-68F1-887EE94915F2}"/>
              </a:ext>
            </a:extLst>
          </p:cNvPr>
          <p:cNvGraphicFramePr>
            <a:graphicFrameLocks noChangeAspect="1"/>
          </p:cNvGraphicFramePr>
          <p:nvPr>
            <p:custDataLst>
              <p:tags r:id="rId2"/>
            </p:custDataLst>
            <p:extLst>
              <p:ext uri="{D42A27DB-BD31-4B8C-83A1-F6EECF244321}">
                <p14:modId xmlns:p14="http://schemas.microsoft.com/office/powerpoint/2010/main" val="803254401"/>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5767A85C-B6CB-77F3-68F1-887EE94915F2}"/>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31D12C-6AC4-87AD-16F2-7AEDDBA67556}"/>
              </a:ext>
            </a:extLst>
          </p:cNvPr>
          <p:cNvSpPr>
            <a:spLocks noGrp="1"/>
          </p:cNvSpPr>
          <p:nvPr>
            <p:ph type="title"/>
          </p:nvPr>
        </p:nvSpPr>
        <p:spPr>
          <a:xfrm>
            <a:off x="488949" y="346075"/>
            <a:ext cx="11223625" cy="469900"/>
          </a:xfrm>
        </p:spPr>
        <p:txBody>
          <a:bodyPr vert="horz"/>
          <a:lstStyle/>
          <a:p>
            <a:r>
              <a:rPr lang="en-IN" dirty="0"/>
              <a:t>IRS TE/GE’s FY24 Accomplishments letter</a:t>
            </a:r>
            <a:br>
              <a:rPr lang="en-IN" dirty="0"/>
            </a:br>
            <a:endParaRPr lang="en-US" dirty="0"/>
          </a:p>
        </p:txBody>
      </p:sp>
      <p:sp>
        <p:nvSpPr>
          <p:cNvPr id="3" name="Content Placeholder 2">
            <a:extLst>
              <a:ext uri="{FF2B5EF4-FFF2-40B4-BE49-F238E27FC236}">
                <a16:creationId xmlns:a16="http://schemas.microsoft.com/office/drawing/2014/main" id="{84D99BFC-3BFE-F689-2BF0-C64169964A9B}"/>
              </a:ext>
            </a:extLst>
          </p:cNvPr>
          <p:cNvSpPr>
            <a:spLocks noGrp="1"/>
          </p:cNvSpPr>
          <p:nvPr>
            <p:ph type="body" sz="quarter" idx="4294967295"/>
          </p:nvPr>
        </p:nvSpPr>
        <p:spPr>
          <a:xfrm>
            <a:off x="479424" y="1412875"/>
            <a:ext cx="5486400" cy="4679950"/>
          </a:xfrm>
        </p:spPr>
        <p:txBody>
          <a:bodyPr numCol="1" spcCol="182880"/>
          <a:lstStyle/>
          <a:p>
            <a:pPr marL="365760" indent="-365760">
              <a:spcBef>
                <a:spcPts val="0"/>
              </a:spcBef>
              <a:spcAft>
                <a:spcPts val="600"/>
              </a:spcAft>
            </a:pPr>
            <a:r>
              <a:rPr lang="en-IN" sz="1800" dirty="0"/>
              <a:t>TE/GE sector snapshot: tax-exempt organizations:</a:t>
            </a:r>
          </a:p>
          <a:p>
            <a:pPr marL="731520" indent="-365760">
              <a:spcBef>
                <a:spcPts val="0"/>
              </a:spcBef>
              <a:spcAft>
                <a:spcPts val="600"/>
              </a:spcAft>
            </a:pPr>
            <a:r>
              <a:rPr lang="en-IN" sz="1800" dirty="0"/>
              <a:t>Employs almost 28% of the American workforce</a:t>
            </a:r>
          </a:p>
          <a:p>
            <a:pPr marL="731520" indent="-365760">
              <a:spcBef>
                <a:spcPts val="0"/>
              </a:spcBef>
              <a:spcAft>
                <a:spcPts val="600"/>
              </a:spcAft>
            </a:pPr>
            <a:r>
              <a:rPr lang="en-IN" sz="1800" dirty="0"/>
              <a:t>Controls nearly $53t in assets</a:t>
            </a:r>
          </a:p>
          <a:p>
            <a:pPr marL="731520" indent="-365760">
              <a:spcBef>
                <a:spcPts val="0"/>
              </a:spcBef>
              <a:spcAft>
                <a:spcPts val="600"/>
              </a:spcAft>
            </a:pPr>
            <a:r>
              <a:rPr lang="en-IN" sz="1800" dirty="0"/>
              <a:t>Accounts for about 26% of nearly $1.5t in federal tax ”expenditures” (forgone revenue from tax exemption and related provisions)</a:t>
            </a:r>
          </a:p>
          <a:p>
            <a:pPr marL="365760" indent="-365760">
              <a:spcBef>
                <a:spcPts val="0"/>
              </a:spcBef>
              <a:spcAft>
                <a:spcPts val="600"/>
              </a:spcAft>
            </a:pPr>
            <a:r>
              <a:rPr lang="en-IN" sz="1800" dirty="0"/>
              <a:t>Technology enhancements: </a:t>
            </a:r>
          </a:p>
          <a:p>
            <a:pPr marL="731520" indent="-365760">
              <a:spcBef>
                <a:spcPts val="0"/>
              </a:spcBef>
              <a:spcAft>
                <a:spcPts val="600"/>
              </a:spcAft>
            </a:pPr>
            <a:r>
              <a:rPr lang="en-IN" sz="1800" dirty="0"/>
              <a:t>Use of artificial intelligence (AI) machine learning models</a:t>
            </a:r>
          </a:p>
          <a:p>
            <a:pPr marL="731520" indent="-365760">
              <a:spcBef>
                <a:spcPts val="0"/>
              </a:spcBef>
              <a:spcAft>
                <a:spcPts val="600"/>
              </a:spcAft>
            </a:pPr>
            <a:r>
              <a:rPr lang="en-IN" sz="1800" dirty="0"/>
              <a:t>Improvements to Tax Exempt Organization Search website</a:t>
            </a:r>
          </a:p>
          <a:p>
            <a:pPr marL="731520" indent="-365760">
              <a:spcBef>
                <a:spcPts val="0"/>
              </a:spcBef>
              <a:spcAft>
                <a:spcPts val="600"/>
              </a:spcAft>
            </a:pPr>
            <a:r>
              <a:rPr lang="en-IN" sz="1800" dirty="0"/>
              <a:t>Improved usability of Form 990 XML data for researchers</a:t>
            </a:r>
          </a:p>
        </p:txBody>
      </p:sp>
      <p:sp>
        <p:nvSpPr>
          <p:cNvPr id="4" name="Content Placeholder 2">
            <a:extLst>
              <a:ext uri="{FF2B5EF4-FFF2-40B4-BE49-F238E27FC236}">
                <a16:creationId xmlns:a16="http://schemas.microsoft.com/office/drawing/2014/main" id="{7E2F47C1-656E-D501-6A60-8AFF07C5DB38}"/>
              </a:ext>
            </a:extLst>
          </p:cNvPr>
          <p:cNvSpPr txBox="1">
            <a:spLocks/>
          </p:cNvSpPr>
          <p:nvPr/>
        </p:nvSpPr>
        <p:spPr>
          <a:xfrm>
            <a:off x="6226174" y="1412875"/>
            <a:ext cx="5486400" cy="3964343"/>
          </a:xfrm>
          <a:prstGeom prst="rect">
            <a:avLst/>
          </a:prstGeom>
        </p:spPr>
        <p:txBody>
          <a:bodyPr vert="horz" lIns="0" tIns="0" rIns="0" bIns="0" numCol="1" spcCol="18288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365760" indent="-365760">
              <a:spcBef>
                <a:spcPts val="0"/>
              </a:spcBef>
              <a:spcAft>
                <a:spcPts val="600"/>
              </a:spcAft>
            </a:pPr>
            <a:r>
              <a:rPr lang="en-IN" sz="1800" dirty="0"/>
              <a:t>Exempt Organizations Graph Exploration Tool (</a:t>
            </a:r>
            <a:r>
              <a:rPr lang="en-IN" sz="1800" dirty="0" err="1"/>
              <a:t>EOGET</a:t>
            </a:r>
            <a:r>
              <a:rPr lang="en-IN" sz="1800" dirty="0"/>
              <a:t>) — launched FY24</a:t>
            </a:r>
          </a:p>
          <a:p>
            <a:pPr marL="365760" indent="-365760">
              <a:spcBef>
                <a:spcPts val="0"/>
              </a:spcBef>
              <a:spcAft>
                <a:spcPts val="600"/>
              </a:spcAft>
            </a:pPr>
            <a:r>
              <a:rPr lang="en-IN" sz="1800" dirty="0"/>
              <a:t>Inflation Reduction Act — focus on elective payments for FY24</a:t>
            </a:r>
          </a:p>
          <a:p>
            <a:pPr marL="365760" indent="-365760">
              <a:spcBef>
                <a:spcPts val="0"/>
              </a:spcBef>
              <a:spcAft>
                <a:spcPts val="600"/>
              </a:spcAft>
            </a:pPr>
            <a:r>
              <a:rPr lang="en-IN" sz="1800" dirty="0"/>
              <a:t>Equity, diversity and inclusion (EDI) initiatives, including “Celebrating our Uniqueness Together” campaign</a:t>
            </a:r>
          </a:p>
          <a:p>
            <a:pPr marL="365760" indent="-365760">
              <a:spcBef>
                <a:spcPts val="0"/>
              </a:spcBef>
              <a:spcAft>
                <a:spcPts val="600"/>
              </a:spcAft>
            </a:pPr>
            <a:endParaRPr lang="en-IN" sz="1800" dirty="0"/>
          </a:p>
          <a:p>
            <a:pPr marL="365760" indent="-365760">
              <a:spcBef>
                <a:spcPts val="0"/>
              </a:spcBef>
              <a:spcAft>
                <a:spcPts val="600"/>
              </a:spcAft>
            </a:pPr>
            <a:endParaRPr lang="en-IN" sz="1800" dirty="0"/>
          </a:p>
        </p:txBody>
      </p:sp>
    </p:spTree>
    <p:extLst>
      <p:ext uri="{BB962C8B-B14F-4D97-AF65-F5344CB8AC3E}">
        <p14:creationId xmlns:p14="http://schemas.microsoft.com/office/powerpoint/2010/main" val="1732345648"/>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A03C85B-0153-8B77-E1EA-3AE2BC13BB67}"/>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57E210E-271C-19F2-80B7-7BC70372F382}"/>
              </a:ext>
            </a:extLst>
          </p:cNvPr>
          <p:cNvGraphicFramePr>
            <a:graphicFrameLocks noChangeAspect="1"/>
          </p:cNvGraphicFramePr>
          <p:nvPr>
            <p:custDataLst>
              <p:tags r:id="rId2"/>
            </p:custDataLst>
            <p:extLst>
              <p:ext uri="{D42A27DB-BD31-4B8C-83A1-F6EECF244321}">
                <p14:modId xmlns:p14="http://schemas.microsoft.com/office/powerpoint/2010/main" val="4080125970"/>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957E210E-271C-19F2-80B7-7BC70372F382}"/>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CE6D5D-DE1B-7639-ED4D-0D88D33C359C}"/>
              </a:ext>
            </a:extLst>
          </p:cNvPr>
          <p:cNvSpPr>
            <a:spLocks noGrp="1"/>
          </p:cNvSpPr>
          <p:nvPr>
            <p:ph type="title"/>
          </p:nvPr>
        </p:nvSpPr>
        <p:spPr>
          <a:xfrm>
            <a:off x="488949" y="346075"/>
            <a:ext cx="11223625" cy="469900"/>
          </a:xfrm>
        </p:spPr>
        <p:txBody>
          <a:bodyPr vert="horz"/>
          <a:lstStyle/>
          <a:p>
            <a:r>
              <a:rPr lang="en-US" dirty="0"/>
              <a:t>IRS TE/GE’s FY24 accomplishments letter (cont.)</a:t>
            </a:r>
            <a:endParaRPr lang="en-US" b="0" dirty="0"/>
          </a:p>
        </p:txBody>
      </p:sp>
      <p:sp>
        <p:nvSpPr>
          <p:cNvPr id="3" name="Content Placeholder 2">
            <a:extLst>
              <a:ext uri="{FF2B5EF4-FFF2-40B4-BE49-F238E27FC236}">
                <a16:creationId xmlns:a16="http://schemas.microsoft.com/office/drawing/2014/main" id="{55D7CA4F-3257-1073-D34D-D1BFA81DD107}"/>
              </a:ext>
            </a:extLst>
          </p:cNvPr>
          <p:cNvSpPr>
            <a:spLocks noGrp="1"/>
          </p:cNvSpPr>
          <p:nvPr>
            <p:ph type="body" sz="quarter" idx="4294967295"/>
          </p:nvPr>
        </p:nvSpPr>
        <p:spPr>
          <a:xfrm>
            <a:off x="479424" y="1844787"/>
            <a:ext cx="5486400" cy="4235226"/>
          </a:xfrm>
        </p:spPr>
        <p:txBody>
          <a:bodyPr/>
          <a:lstStyle/>
          <a:p>
            <a:pPr marL="365760" indent="-365760">
              <a:spcBef>
                <a:spcPts val="0"/>
              </a:spcBef>
              <a:spcAft>
                <a:spcPts val="600"/>
              </a:spcAft>
            </a:pPr>
            <a:r>
              <a:rPr lang="en-IN" sz="1800" b="1" dirty="0">
                <a:solidFill>
                  <a:srgbClr val="FFE600"/>
                </a:solidFill>
              </a:rPr>
              <a:t>Initiated 3,239 examinations:</a:t>
            </a:r>
          </a:p>
          <a:p>
            <a:pPr marL="731520" indent="-365760">
              <a:spcBef>
                <a:spcPts val="0"/>
              </a:spcBef>
              <a:spcAft>
                <a:spcPts val="600"/>
              </a:spcAft>
            </a:pPr>
            <a:r>
              <a:rPr lang="en-IN" sz="1800" dirty="0"/>
              <a:t>489 data driven</a:t>
            </a:r>
          </a:p>
          <a:p>
            <a:pPr marL="731520" indent="-365760">
              <a:spcBef>
                <a:spcPts val="0"/>
              </a:spcBef>
              <a:spcAft>
                <a:spcPts val="600"/>
              </a:spcAft>
            </a:pPr>
            <a:r>
              <a:rPr lang="en-IN" sz="1800" dirty="0"/>
              <a:t>2,590 referrals, claims and other casework</a:t>
            </a:r>
          </a:p>
          <a:p>
            <a:pPr marL="731520" indent="-365760">
              <a:spcBef>
                <a:spcPts val="0"/>
              </a:spcBef>
              <a:spcAft>
                <a:spcPts val="600"/>
              </a:spcAft>
            </a:pPr>
            <a:r>
              <a:rPr lang="en-IN" sz="1800" dirty="0"/>
              <a:t>160 compliance strategies</a:t>
            </a:r>
          </a:p>
          <a:p>
            <a:pPr marL="365760" indent="-365760">
              <a:spcBef>
                <a:spcPts val="0"/>
              </a:spcBef>
              <a:spcAft>
                <a:spcPts val="600"/>
              </a:spcAft>
            </a:pPr>
            <a:endParaRPr lang="en-IN" sz="1800" dirty="0"/>
          </a:p>
          <a:p>
            <a:pPr marL="365760" indent="-365760">
              <a:spcBef>
                <a:spcPts val="0"/>
              </a:spcBef>
              <a:spcAft>
                <a:spcPts val="600"/>
              </a:spcAft>
            </a:pPr>
            <a:r>
              <a:rPr lang="en-IN" sz="1800" b="1" dirty="0">
                <a:solidFill>
                  <a:srgbClr val="FFE600"/>
                </a:solidFill>
              </a:rPr>
              <a:t>Completed examinations of 1,955 filings:</a:t>
            </a:r>
          </a:p>
          <a:p>
            <a:pPr marL="731520" indent="-365760">
              <a:spcBef>
                <a:spcPts val="0"/>
              </a:spcBef>
              <a:spcAft>
                <a:spcPts val="600"/>
              </a:spcAft>
            </a:pPr>
            <a:r>
              <a:rPr lang="en-IN" sz="1800" dirty="0"/>
              <a:t>536 data driven</a:t>
            </a:r>
          </a:p>
          <a:p>
            <a:pPr marL="731520" indent="-365760">
              <a:spcBef>
                <a:spcPts val="0"/>
              </a:spcBef>
              <a:spcAft>
                <a:spcPts val="600"/>
              </a:spcAft>
            </a:pPr>
            <a:r>
              <a:rPr lang="en-IN" sz="1800" dirty="0"/>
              <a:t>1,212 referrals, claims and other casework</a:t>
            </a:r>
          </a:p>
          <a:p>
            <a:pPr marL="731520" indent="-365760">
              <a:spcBef>
                <a:spcPts val="0"/>
              </a:spcBef>
              <a:spcAft>
                <a:spcPts val="600"/>
              </a:spcAft>
            </a:pPr>
            <a:r>
              <a:rPr lang="en-IN" sz="1800" dirty="0"/>
              <a:t>207 compliance strategies</a:t>
            </a:r>
          </a:p>
        </p:txBody>
      </p:sp>
      <p:sp>
        <p:nvSpPr>
          <p:cNvPr id="4" name="Content Placeholder 2">
            <a:extLst>
              <a:ext uri="{FF2B5EF4-FFF2-40B4-BE49-F238E27FC236}">
                <a16:creationId xmlns:a16="http://schemas.microsoft.com/office/drawing/2014/main" id="{949D0805-8C20-5D4D-1DA5-FB2E4266C34D}"/>
              </a:ext>
            </a:extLst>
          </p:cNvPr>
          <p:cNvSpPr txBox="1">
            <a:spLocks/>
          </p:cNvSpPr>
          <p:nvPr/>
        </p:nvSpPr>
        <p:spPr>
          <a:xfrm>
            <a:off x="479423" y="1426965"/>
            <a:ext cx="11233151" cy="441268"/>
          </a:xfrm>
          <a:prstGeom prst="rect">
            <a:avLst/>
          </a:prstGeom>
        </p:spPr>
        <p:txBody>
          <a:bodyPr lIns="0" tIns="0" rIns="0" bIns="0"/>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spcAft>
                <a:spcPts val="1199"/>
              </a:spcAft>
              <a:buFont typeface="Wingdings" pitchFamily="2" charset="2"/>
              <a:buNone/>
            </a:pPr>
            <a:r>
              <a:rPr lang="en-IN" sz="1800" b="1" dirty="0">
                <a:solidFill>
                  <a:schemeClr val="tx2"/>
                </a:solidFill>
              </a:rPr>
              <a:t>In its 2024 fiscal year, TEGE Exempt Organizations (EO):</a:t>
            </a:r>
          </a:p>
        </p:txBody>
      </p:sp>
      <p:sp>
        <p:nvSpPr>
          <p:cNvPr id="5" name="Content Placeholder 2">
            <a:extLst>
              <a:ext uri="{FF2B5EF4-FFF2-40B4-BE49-F238E27FC236}">
                <a16:creationId xmlns:a16="http://schemas.microsoft.com/office/drawing/2014/main" id="{7868CE9F-3FEA-7870-E352-7A1F97CB7D38}"/>
              </a:ext>
            </a:extLst>
          </p:cNvPr>
          <p:cNvSpPr txBox="1">
            <a:spLocks/>
          </p:cNvSpPr>
          <p:nvPr/>
        </p:nvSpPr>
        <p:spPr>
          <a:xfrm>
            <a:off x="6226174" y="1844787"/>
            <a:ext cx="5486400" cy="4235226"/>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365760" indent="-365760">
              <a:spcBef>
                <a:spcPts val="0"/>
              </a:spcBef>
              <a:spcAft>
                <a:spcPts val="600"/>
              </a:spcAft>
            </a:pPr>
            <a:r>
              <a:rPr lang="en-IN" sz="1800" b="1" dirty="0">
                <a:solidFill>
                  <a:srgbClr val="FFE600"/>
                </a:solidFill>
              </a:rPr>
              <a:t>Issued 87 exemption revocations:</a:t>
            </a:r>
          </a:p>
          <a:p>
            <a:pPr marL="731520" indent="-365760">
              <a:spcBef>
                <a:spcPts val="0"/>
              </a:spcBef>
              <a:spcAft>
                <a:spcPts val="600"/>
              </a:spcAft>
            </a:pPr>
            <a:r>
              <a:rPr lang="en-IN" sz="1800" dirty="0"/>
              <a:t>Operational requirements largest identified issue (51), followed by filing requirements and foundation status</a:t>
            </a:r>
          </a:p>
          <a:p>
            <a:pPr marL="365760" indent="-365760">
              <a:spcBef>
                <a:spcPts val="0"/>
              </a:spcBef>
              <a:spcAft>
                <a:spcPts val="600"/>
              </a:spcAft>
            </a:pPr>
            <a:endParaRPr lang="en-IN" sz="1800" dirty="0">
              <a:solidFill>
                <a:srgbClr val="FFE600"/>
              </a:solidFill>
            </a:endParaRPr>
          </a:p>
          <a:p>
            <a:pPr marL="365760" indent="-365760">
              <a:spcBef>
                <a:spcPts val="0"/>
              </a:spcBef>
              <a:spcAft>
                <a:spcPts val="600"/>
              </a:spcAft>
            </a:pPr>
            <a:r>
              <a:rPr lang="en-IN" sz="1800" b="1" dirty="0">
                <a:solidFill>
                  <a:srgbClr val="FFE600"/>
                </a:solidFill>
              </a:rPr>
              <a:t>Received over 130,000 determination applications and requests:</a:t>
            </a:r>
          </a:p>
          <a:p>
            <a:pPr marL="731520" indent="-365760">
              <a:spcBef>
                <a:spcPts val="0"/>
              </a:spcBef>
              <a:spcAft>
                <a:spcPts val="600"/>
              </a:spcAft>
            </a:pPr>
            <a:r>
              <a:rPr lang="en-IN" sz="1800" dirty="0"/>
              <a:t>Nearly 120,000 Forms 1023 and 1023-EZ</a:t>
            </a:r>
          </a:p>
          <a:p>
            <a:pPr marL="731520" indent="-365760">
              <a:spcBef>
                <a:spcPts val="0"/>
              </a:spcBef>
              <a:spcAft>
                <a:spcPts val="600"/>
              </a:spcAft>
            </a:pPr>
            <a:r>
              <a:rPr lang="en-IN" sz="1800" dirty="0"/>
              <a:t>Closed 136,710 applications</a:t>
            </a:r>
          </a:p>
          <a:p>
            <a:pPr marL="731520" indent="-365760">
              <a:spcBef>
                <a:spcPts val="0"/>
              </a:spcBef>
              <a:spcAft>
                <a:spcPts val="600"/>
              </a:spcAft>
            </a:pPr>
            <a:r>
              <a:rPr lang="en-IN" sz="1800" dirty="0"/>
              <a:t>127,809 approvals for IRC Section 501(c)(3) status</a:t>
            </a:r>
          </a:p>
        </p:txBody>
      </p:sp>
    </p:spTree>
    <p:extLst>
      <p:ext uri="{BB962C8B-B14F-4D97-AF65-F5344CB8AC3E}">
        <p14:creationId xmlns:p14="http://schemas.microsoft.com/office/powerpoint/2010/main" val="1399817450"/>
      </p:ext>
    </p:extLst>
  </p:cSld>
  <p:clrMapOvr>
    <a:overrideClrMapping bg1="lt1" tx1="dk1" bg2="lt2" tx2="dk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19CD9B9-F32F-A631-B161-3274EB25DE25}"/>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590D0B5-FC37-D2E6-5B18-7DDB8BD2339D}"/>
              </a:ext>
            </a:extLst>
          </p:cNvPr>
          <p:cNvSpPr>
            <a:spLocks noGrp="1"/>
          </p:cNvSpPr>
          <p:nvPr>
            <p:ph type="title"/>
          </p:nvPr>
        </p:nvSpPr>
        <p:spPr>
          <a:xfrm>
            <a:off x="485523" y="345396"/>
            <a:ext cx="11224347" cy="470898"/>
          </a:xfrm>
        </p:spPr>
        <p:txBody>
          <a:bodyPr/>
          <a:lstStyle/>
          <a:p>
            <a:r>
              <a:rPr lang="en-IN" dirty="0"/>
              <a:t>Polling question 3</a:t>
            </a:r>
          </a:p>
        </p:txBody>
      </p:sp>
      <p:sp>
        <p:nvSpPr>
          <p:cNvPr id="6" name="Content Placeholder 7">
            <a:extLst>
              <a:ext uri="{FF2B5EF4-FFF2-40B4-BE49-F238E27FC236}">
                <a16:creationId xmlns:a16="http://schemas.microsoft.com/office/drawing/2014/main" id="{DFB3917D-A388-AF4B-FF31-CE0A05F9F56E}"/>
              </a:ext>
            </a:extLst>
          </p:cNvPr>
          <p:cNvSpPr txBox="1">
            <a:spLocks/>
          </p:cNvSpPr>
          <p:nvPr/>
        </p:nvSpPr>
        <p:spPr>
          <a:xfrm>
            <a:off x="487775" y="2443025"/>
            <a:ext cx="11224800" cy="1711326"/>
          </a:xfrm>
          <a:prstGeom prst="rect">
            <a:avLst/>
          </a:prstGeom>
        </p:spPr>
        <p:txBody>
          <a:bodyPr lIns="0" tIns="0" rIns="0" bIns="0"/>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457200" lvl="1" indent="-457200">
              <a:spcBef>
                <a:spcPts val="0"/>
              </a:spcBef>
              <a:spcAft>
                <a:spcPts val="1200"/>
              </a:spcAft>
              <a:buFont typeface="+mj-lt"/>
              <a:buAutoNum type="alphaLcPeriod"/>
            </a:pPr>
            <a:r>
              <a:rPr lang="en-IN" sz="2000" dirty="0">
                <a:solidFill>
                  <a:schemeClr val="lt1"/>
                </a:solidFill>
              </a:rPr>
              <a:t>Retirement plans</a:t>
            </a:r>
          </a:p>
          <a:p>
            <a:pPr marL="457200" lvl="1" indent="-457200">
              <a:spcBef>
                <a:spcPts val="0"/>
              </a:spcBef>
              <a:spcAft>
                <a:spcPts val="1200"/>
              </a:spcAft>
              <a:buFont typeface="+mj-lt"/>
              <a:buAutoNum type="alphaLcPeriod"/>
            </a:pPr>
            <a:r>
              <a:rPr lang="en-IN" sz="2000" dirty="0">
                <a:solidFill>
                  <a:schemeClr val="lt1"/>
                </a:solidFill>
              </a:rPr>
              <a:t>Exempt organizations</a:t>
            </a:r>
          </a:p>
          <a:p>
            <a:pPr marL="457200" lvl="1" indent="-457200">
              <a:spcBef>
                <a:spcPts val="0"/>
              </a:spcBef>
              <a:spcAft>
                <a:spcPts val="1200"/>
              </a:spcAft>
              <a:buFont typeface="+mj-lt"/>
              <a:buAutoNum type="alphaLcPeriod"/>
            </a:pPr>
            <a:r>
              <a:rPr lang="en-IN" sz="2000" dirty="0">
                <a:solidFill>
                  <a:schemeClr val="lt1"/>
                </a:solidFill>
              </a:rPr>
              <a:t>Federal/state/local governments and Indian tribes</a:t>
            </a:r>
          </a:p>
          <a:p>
            <a:pPr marL="457200" lvl="1" indent="-457200">
              <a:spcBef>
                <a:spcPts val="0"/>
              </a:spcBef>
              <a:spcAft>
                <a:spcPts val="1200"/>
              </a:spcAft>
              <a:buFont typeface="+mj-lt"/>
              <a:buAutoNum type="alphaLcPeriod"/>
            </a:pPr>
            <a:r>
              <a:rPr lang="en-IN" sz="2000" dirty="0">
                <a:solidFill>
                  <a:schemeClr val="lt1"/>
                </a:solidFill>
              </a:rPr>
              <a:t>All of the above</a:t>
            </a:r>
          </a:p>
        </p:txBody>
      </p:sp>
      <p:sp>
        <p:nvSpPr>
          <p:cNvPr id="7" name="Rectangle 6">
            <a:extLst>
              <a:ext uri="{FF2B5EF4-FFF2-40B4-BE49-F238E27FC236}">
                <a16:creationId xmlns:a16="http://schemas.microsoft.com/office/drawing/2014/main" id="{96637092-B793-B6A5-98FC-4B5DA69BBFEE}"/>
              </a:ext>
            </a:extLst>
          </p:cNvPr>
          <p:cNvSpPr>
            <a:spLocks/>
          </p:cNvSpPr>
          <p:nvPr/>
        </p:nvSpPr>
        <p:spPr>
          <a:xfrm>
            <a:off x="485523" y="1424450"/>
            <a:ext cx="11227052" cy="914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2E2E38"/>
                </a:solidFill>
              </a14:hiddenFill>
            </a:ext>
            <a:ext uri="{91240B29-F687-4F45-9708-019B960494DF}">
              <a14:hiddenLine xmlns:a14="http://schemas.microsoft.com/office/drawing/2010/main" w="12700" cap="flat" cmpd="sng" algn="ctr">
                <a:solidFill>
                  <a:srgbClr val="2E2E3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2400" b="1" dirty="0"/>
              <a:t>What organizations are part of the Tax-Exempt and Government Entities Division of the IRS? </a:t>
            </a:r>
          </a:p>
        </p:txBody>
      </p:sp>
    </p:spTree>
    <p:extLst>
      <p:ext uri="{BB962C8B-B14F-4D97-AF65-F5344CB8AC3E}">
        <p14:creationId xmlns:p14="http://schemas.microsoft.com/office/powerpoint/2010/main" val="25738008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5A24D44F-8510-0C4B-EFE2-7915F1C8FF85}"/>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61C3B99-1B4E-1E50-64CB-DF92C04846DD}"/>
              </a:ext>
            </a:extLst>
          </p:cNvPr>
          <p:cNvGraphicFramePr>
            <a:graphicFrameLocks noChangeAspect="1"/>
          </p:cNvGraphicFramePr>
          <p:nvPr>
            <p:custDataLst>
              <p:tags r:id="rId2"/>
            </p:custDataLst>
            <p:extLst>
              <p:ext uri="{D42A27DB-BD31-4B8C-83A1-F6EECF244321}">
                <p14:modId xmlns:p14="http://schemas.microsoft.com/office/powerpoint/2010/main" val="2504834944"/>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C61C3B99-1B4E-1E50-64CB-DF92C04846DD}"/>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7AF3D6B-21A7-DCBC-A07B-BF3864E3A323}"/>
              </a:ext>
            </a:extLst>
          </p:cNvPr>
          <p:cNvSpPr>
            <a:spLocks noGrp="1"/>
          </p:cNvSpPr>
          <p:nvPr>
            <p:ph type="title"/>
          </p:nvPr>
        </p:nvSpPr>
        <p:spPr>
          <a:xfrm>
            <a:off x="488949" y="346075"/>
            <a:ext cx="11223625" cy="469900"/>
          </a:xfrm>
        </p:spPr>
        <p:txBody>
          <a:bodyPr vert="horz"/>
          <a:lstStyle/>
          <a:p>
            <a:r>
              <a:rPr lang="en-IN" dirty="0"/>
              <a:t>IRS TE/GE’s FY24 accomplishments letter</a:t>
            </a:r>
            <a:endParaRPr lang="en-US" dirty="0"/>
          </a:p>
        </p:txBody>
      </p:sp>
      <p:sp>
        <p:nvSpPr>
          <p:cNvPr id="3" name="Content Placeholder 2">
            <a:extLst>
              <a:ext uri="{FF2B5EF4-FFF2-40B4-BE49-F238E27FC236}">
                <a16:creationId xmlns:a16="http://schemas.microsoft.com/office/drawing/2014/main" id="{305B9AB5-8B5C-9400-18B6-22A0FACB383D}"/>
              </a:ext>
            </a:extLst>
          </p:cNvPr>
          <p:cNvSpPr>
            <a:spLocks noGrp="1"/>
          </p:cNvSpPr>
          <p:nvPr>
            <p:ph type="body" sz="quarter" idx="4294967295"/>
          </p:nvPr>
        </p:nvSpPr>
        <p:spPr>
          <a:xfrm>
            <a:off x="479424" y="1412875"/>
            <a:ext cx="11233150" cy="4667138"/>
          </a:xfrm>
        </p:spPr>
        <p:txBody>
          <a:bodyPr/>
          <a:lstStyle/>
          <a:p>
            <a:pPr marL="365760" indent="-365760">
              <a:spcBef>
                <a:spcPts val="0"/>
              </a:spcBef>
              <a:spcAft>
                <a:spcPts val="600"/>
              </a:spcAft>
            </a:pPr>
            <a:r>
              <a:rPr lang="en-IN" sz="1800" dirty="0"/>
              <a:t>Compliance strategies:</a:t>
            </a:r>
          </a:p>
          <a:p>
            <a:pPr marL="731520" indent="-365760">
              <a:spcBef>
                <a:spcPts val="0"/>
              </a:spcBef>
              <a:spcAft>
                <a:spcPts val="600"/>
              </a:spcAft>
            </a:pPr>
            <a:r>
              <a:rPr lang="en-IN" sz="1800" dirty="0"/>
              <a:t>Addressing noncompliance through issues approved by the TE/GE to identify, prioritize and allocate resources within the TE/GE filing population:</a:t>
            </a:r>
          </a:p>
          <a:p>
            <a:pPr marL="1097280" indent="-365760">
              <a:spcBef>
                <a:spcPts val="0"/>
              </a:spcBef>
              <a:spcAft>
                <a:spcPts val="600"/>
              </a:spcAft>
            </a:pPr>
            <a:r>
              <a:rPr lang="en-IN" sz="1800" dirty="0"/>
              <a:t>Examinations and compliance contacts</a:t>
            </a:r>
          </a:p>
          <a:p>
            <a:pPr marL="1097280" indent="-365760">
              <a:spcBef>
                <a:spcPts val="0"/>
              </a:spcBef>
              <a:spcAft>
                <a:spcPts val="600"/>
              </a:spcAft>
            </a:pPr>
            <a:r>
              <a:rPr lang="en-IN" sz="1800" dirty="0"/>
              <a:t>Educational letters</a:t>
            </a:r>
          </a:p>
          <a:p>
            <a:pPr marL="1097280" indent="-365760">
              <a:spcBef>
                <a:spcPts val="0"/>
              </a:spcBef>
              <a:spcAft>
                <a:spcPts val="600"/>
              </a:spcAft>
            </a:pPr>
            <a:r>
              <a:rPr lang="en-IN" sz="1800" dirty="0"/>
              <a:t>Technical guidance</a:t>
            </a:r>
          </a:p>
          <a:p>
            <a:pPr marL="365760" indent="-365760">
              <a:spcBef>
                <a:spcPts val="0"/>
              </a:spcBef>
              <a:spcAft>
                <a:spcPts val="600"/>
              </a:spcAft>
            </a:pPr>
            <a:r>
              <a:rPr lang="en-IN" sz="1800" dirty="0"/>
              <a:t>Data-driven approaches:</a:t>
            </a:r>
          </a:p>
          <a:p>
            <a:pPr marL="731520" indent="-365760">
              <a:spcBef>
                <a:spcPts val="0"/>
              </a:spcBef>
              <a:spcAft>
                <a:spcPts val="600"/>
              </a:spcAft>
            </a:pPr>
            <a:r>
              <a:rPr lang="en-IN" sz="1800" dirty="0"/>
              <a:t>Data and queries based on quantitative criteria, used to identify high-risk areas of noncompliance, and focus on issues with the greatest impact</a:t>
            </a:r>
          </a:p>
          <a:p>
            <a:pPr marL="365760" indent="-365760">
              <a:spcBef>
                <a:spcPts val="0"/>
              </a:spcBef>
              <a:spcAft>
                <a:spcPts val="600"/>
              </a:spcAft>
            </a:pPr>
            <a:r>
              <a:rPr lang="en-IN" sz="1800" dirty="0"/>
              <a:t>Referrals, claims and other casework:</a:t>
            </a:r>
          </a:p>
          <a:p>
            <a:pPr marL="731520" indent="-365760">
              <a:spcBef>
                <a:spcPts val="0"/>
              </a:spcBef>
              <a:spcAft>
                <a:spcPts val="600"/>
              </a:spcAft>
            </a:pPr>
            <a:r>
              <a:rPr lang="en-IN" sz="1800" dirty="0"/>
              <a:t>Referrals of alleged noncompliance from internal and external sources</a:t>
            </a:r>
          </a:p>
          <a:p>
            <a:pPr marL="731520" indent="-365760">
              <a:spcBef>
                <a:spcPts val="0"/>
              </a:spcBef>
              <a:spcAft>
                <a:spcPts val="600"/>
              </a:spcAft>
            </a:pPr>
            <a:r>
              <a:rPr lang="en-IN" sz="1800" dirty="0"/>
              <a:t>Claims for refunds, credits or adjustments</a:t>
            </a:r>
          </a:p>
        </p:txBody>
      </p:sp>
    </p:spTree>
    <p:extLst>
      <p:ext uri="{BB962C8B-B14F-4D97-AF65-F5344CB8AC3E}">
        <p14:creationId xmlns:p14="http://schemas.microsoft.com/office/powerpoint/2010/main" val="1953969143"/>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1A855957-681C-D2BD-2510-EDD65C45C306}"/>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DB26D97-526A-3FF4-E1B3-8E641A6F6FFE}"/>
              </a:ext>
            </a:extLst>
          </p:cNvPr>
          <p:cNvGraphicFramePr>
            <a:graphicFrameLocks noChangeAspect="1"/>
          </p:cNvGraphicFramePr>
          <p:nvPr>
            <p:custDataLst>
              <p:tags r:id="rId2"/>
            </p:custDataLst>
            <p:extLst>
              <p:ext uri="{D42A27DB-BD31-4B8C-83A1-F6EECF244321}">
                <p14:modId xmlns:p14="http://schemas.microsoft.com/office/powerpoint/2010/main" val="132205011"/>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ADB26D97-526A-3FF4-E1B3-8E641A6F6FFE}"/>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CC7756A-DF0B-50D8-810D-5AD4A153CD69}"/>
              </a:ext>
            </a:extLst>
          </p:cNvPr>
          <p:cNvSpPr>
            <a:spLocks noGrp="1"/>
          </p:cNvSpPr>
          <p:nvPr>
            <p:ph type="title"/>
          </p:nvPr>
        </p:nvSpPr>
        <p:spPr>
          <a:xfrm>
            <a:off x="488949" y="346075"/>
            <a:ext cx="11223625" cy="469900"/>
          </a:xfrm>
        </p:spPr>
        <p:txBody>
          <a:bodyPr vert="horz"/>
          <a:lstStyle/>
          <a:p>
            <a:r>
              <a:rPr lang="fr-FR" dirty="0"/>
              <a:t>IRS TE/GE compliance </a:t>
            </a:r>
            <a:r>
              <a:rPr lang="fr-FR" dirty="0" err="1"/>
              <a:t>strategies</a:t>
            </a:r>
            <a:endParaRPr lang="en-US" dirty="0"/>
          </a:p>
        </p:txBody>
      </p:sp>
      <p:sp>
        <p:nvSpPr>
          <p:cNvPr id="3" name="Content Placeholder 2">
            <a:extLst>
              <a:ext uri="{FF2B5EF4-FFF2-40B4-BE49-F238E27FC236}">
                <a16:creationId xmlns:a16="http://schemas.microsoft.com/office/drawing/2014/main" id="{EF8C4ECD-896C-77A6-C915-CE019A1A789A}"/>
              </a:ext>
            </a:extLst>
          </p:cNvPr>
          <p:cNvSpPr>
            <a:spLocks noGrp="1"/>
          </p:cNvSpPr>
          <p:nvPr>
            <p:ph type="body" sz="quarter" idx="4294967295"/>
          </p:nvPr>
        </p:nvSpPr>
        <p:spPr>
          <a:xfrm>
            <a:off x="479424" y="1412875"/>
            <a:ext cx="11233150" cy="4667138"/>
          </a:xfrm>
        </p:spPr>
        <p:txBody>
          <a:bodyPr/>
          <a:lstStyle/>
          <a:p>
            <a:pPr marL="0" indent="0">
              <a:spcBef>
                <a:spcPts val="0"/>
              </a:spcBef>
              <a:spcAft>
                <a:spcPts val="600"/>
              </a:spcAft>
              <a:buNone/>
            </a:pPr>
            <a:r>
              <a:rPr lang="en-IN" sz="1800" dirty="0"/>
              <a:t>Compliance strategies are used to identify priority compliance issues and to allocate resources. Highlights of the current TE/GE compliance strategies include: </a:t>
            </a:r>
          </a:p>
          <a:p>
            <a:pPr marL="365760" indent="-365760">
              <a:spcBef>
                <a:spcPts val="0"/>
              </a:spcBef>
              <a:spcAft>
                <a:spcPts val="600"/>
              </a:spcAft>
            </a:pPr>
            <a:r>
              <a:rPr lang="en-IN" sz="1800" dirty="0"/>
              <a:t>Tax-exempt hospitals:</a:t>
            </a:r>
          </a:p>
          <a:p>
            <a:pPr marL="731520" indent="-365760">
              <a:spcBef>
                <a:spcPts val="0"/>
              </a:spcBef>
              <a:spcAft>
                <a:spcPts val="600"/>
              </a:spcAft>
            </a:pPr>
            <a:r>
              <a:rPr lang="en-IN" sz="1800" dirty="0"/>
              <a:t>Focus on compliance with IRC Sections 501(c)(3) and 501(r)</a:t>
            </a:r>
          </a:p>
          <a:p>
            <a:pPr marL="365760" indent="-365760">
              <a:spcBef>
                <a:spcPts val="0"/>
              </a:spcBef>
              <a:spcAft>
                <a:spcPts val="600"/>
              </a:spcAft>
            </a:pPr>
            <a:r>
              <a:rPr lang="en-IN" sz="1800" dirty="0"/>
              <a:t>EOs misfiling Form 990-N</a:t>
            </a:r>
          </a:p>
          <a:p>
            <a:pPr marL="365760" indent="-365760">
              <a:spcBef>
                <a:spcPts val="0"/>
              </a:spcBef>
              <a:spcAft>
                <a:spcPts val="600"/>
              </a:spcAft>
            </a:pPr>
            <a:r>
              <a:rPr lang="en-IN" sz="1800" dirty="0"/>
              <a:t>See current TE/GE compliance strategies at </a:t>
            </a:r>
            <a:r>
              <a:rPr lang="en-IN" sz="1800" dirty="0">
                <a:hlinkClick r:id="rId7"/>
              </a:rPr>
              <a:t>Tax-Exempt and Government Entities: Compliance Program and Priorities | Internal Revenue Service (irs.gov) </a:t>
            </a:r>
            <a:endParaRPr lang="en-IN" sz="1800" dirty="0"/>
          </a:p>
          <a:p>
            <a:pPr marL="365760" indent="-365760">
              <a:spcBef>
                <a:spcPts val="0"/>
              </a:spcBef>
              <a:spcAft>
                <a:spcPts val="600"/>
              </a:spcAft>
            </a:pPr>
            <a:r>
              <a:rPr lang="en-IN" sz="1800" dirty="0"/>
              <a:t>FY24 compliance strategy examinations resulted in a 64.7% change rate</a:t>
            </a:r>
          </a:p>
          <a:p>
            <a:pPr marL="365760" indent="-365760">
              <a:spcBef>
                <a:spcPts val="0"/>
              </a:spcBef>
              <a:spcAft>
                <a:spcPts val="600"/>
              </a:spcAft>
            </a:pPr>
            <a:r>
              <a:rPr lang="en-IN" sz="1800" dirty="0"/>
              <a:t>Most prominent issues found in examinations: failure to meet filing or operational requirements necessary to maintain tax-exempt status</a:t>
            </a:r>
          </a:p>
        </p:txBody>
      </p:sp>
    </p:spTree>
    <p:extLst>
      <p:ext uri="{BB962C8B-B14F-4D97-AF65-F5344CB8AC3E}">
        <p14:creationId xmlns:p14="http://schemas.microsoft.com/office/powerpoint/2010/main" val="1689376512"/>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CF2AA60E-C437-8311-55C7-04256E973AD9}"/>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201417B-2439-6AFE-E711-A59C145E61E6}"/>
              </a:ext>
            </a:extLst>
          </p:cNvPr>
          <p:cNvGraphicFramePr>
            <a:graphicFrameLocks noChangeAspect="1"/>
          </p:cNvGraphicFramePr>
          <p:nvPr>
            <p:custDataLst>
              <p:tags r:id="rId2"/>
            </p:custDataLst>
            <p:extLst>
              <p:ext uri="{D42A27DB-BD31-4B8C-83A1-F6EECF244321}">
                <p14:modId xmlns:p14="http://schemas.microsoft.com/office/powerpoint/2010/main" val="740586690"/>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F201417B-2439-6AFE-E711-A59C145E61E6}"/>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115D6F5-B833-1600-4024-CA4349A3BCF4}"/>
              </a:ext>
            </a:extLst>
          </p:cNvPr>
          <p:cNvSpPr>
            <a:spLocks noGrp="1"/>
          </p:cNvSpPr>
          <p:nvPr>
            <p:ph type="title"/>
          </p:nvPr>
        </p:nvSpPr>
        <p:spPr>
          <a:xfrm>
            <a:off x="488949" y="346075"/>
            <a:ext cx="11223625" cy="469900"/>
          </a:xfrm>
        </p:spPr>
        <p:txBody>
          <a:bodyPr vert="horz"/>
          <a:lstStyle/>
          <a:p>
            <a:r>
              <a:rPr lang="en-IN" dirty="0"/>
              <a:t>IRS TE/GE data-driven approaches</a:t>
            </a:r>
            <a:endParaRPr lang="en-US" dirty="0"/>
          </a:p>
        </p:txBody>
      </p:sp>
      <p:sp>
        <p:nvSpPr>
          <p:cNvPr id="3" name="Content Placeholder 2">
            <a:extLst>
              <a:ext uri="{FF2B5EF4-FFF2-40B4-BE49-F238E27FC236}">
                <a16:creationId xmlns:a16="http://schemas.microsoft.com/office/drawing/2014/main" id="{FC8982D1-CDEE-3245-3413-74634A09333A}"/>
              </a:ext>
            </a:extLst>
          </p:cNvPr>
          <p:cNvSpPr>
            <a:spLocks noGrp="1"/>
          </p:cNvSpPr>
          <p:nvPr>
            <p:ph type="body" sz="quarter" idx="4294967295"/>
          </p:nvPr>
        </p:nvSpPr>
        <p:spPr>
          <a:xfrm>
            <a:off x="479424" y="1412875"/>
            <a:ext cx="11233150" cy="4667138"/>
          </a:xfrm>
        </p:spPr>
        <p:txBody>
          <a:bodyPr/>
          <a:lstStyle/>
          <a:p>
            <a:pPr marL="365760" indent="-365760">
              <a:spcBef>
                <a:spcPts val="0"/>
              </a:spcBef>
              <a:spcAft>
                <a:spcPts val="600"/>
              </a:spcAft>
            </a:pPr>
            <a:r>
              <a:rPr lang="en-IN" sz="1800" dirty="0"/>
              <a:t>TE/GE and EO employ data-driven approaches to identify organizations for examination:</a:t>
            </a:r>
          </a:p>
          <a:p>
            <a:pPr marL="731520" indent="-365760">
              <a:spcBef>
                <a:spcPts val="0"/>
              </a:spcBef>
              <a:spcAft>
                <a:spcPts val="600"/>
              </a:spcAft>
            </a:pPr>
            <a:r>
              <a:rPr lang="en-IN" sz="1800" dirty="0"/>
              <a:t>Data and queries based on quantitative criteria, used to identify high-risk areas of noncompliance and focus on issues with the greatest impact</a:t>
            </a:r>
          </a:p>
          <a:p>
            <a:pPr marL="365760" indent="-365760">
              <a:spcBef>
                <a:spcPts val="0"/>
              </a:spcBef>
              <a:spcAft>
                <a:spcPts val="600"/>
              </a:spcAft>
            </a:pPr>
            <a:r>
              <a:rPr lang="en-IN" sz="1800" dirty="0"/>
              <a:t>Current priorities in data-driven approaches: </a:t>
            </a:r>
          </a:p>
          <a:p>
            <a:pPr marL="731520" indent="-365760">
              <a:spcBef>
                <a:spcPts val="0"/>
              </a:spcBef>
              <a:spcAft>
                <a:spcPts val="600"/>
              </a:spcAft>
            </a:pPr>
            <a:r>
              <a:rPr lang="en-IN" sz="1800" dirty="0"/>
              <a:t>Identifying organizations at risk of noncompliance based on information reported on Form 990-series returns</a:t>
            </a:r>
          </a:p>
          <a:p>
            <a:pPr marL="731520" indent="-365760">
              <a:spcBef>
                <a:spcPts val="0"/>
              </a:spcBef>
              <a:spcAft>
                <a:spcPts val="600"/>
              </a:spcAft>
            </a:pPr>
            <a:r>
              <a:rPr lang="en-IN" sz="1800" dirty="0"/>
              <a:t>Identifying organizations with indicators of prohibited private benefit or inurement </a:t>
            </a:r>
          </a:p>
          <a:p>
            <a:pPr marL="365760" indent="-365760">
              <a:spcBef>
                <a:spcPts val="0"/>
              </a:spcBef>
              <a:spcAft>
                <a:spcPts val="600"/>
              </a:spcAft>
            </a:pPr>
            <a:r>
              <a:rPr lang="en-IN" sz="1800" dirty="0"/>
              <a:t>Completed 536 data-driven examinations:</a:t>
            </a:r>
          </a:p>
          <a:p>
            <a:pPr marL="731520" indent="-365760">
              <a:spcBef>
                <a:spcPts val="0"/>
              </a:spcBef>
              <a:spcAft>
                <a:spcPts val="600"/>
              </a:spcAft>
            </a:pPr>
            <a:r>
              <a:rPr lang="en-IN" sz="1800" dirty="0"/>
              <a:t>67.2% change rate vs 61.7% in FY23</a:t>
            </a:r>
          </a:p>
          <a:p>
            <a:pPr marL="365760" indent="-365760">
              <a:spcBef>
                <a:spcPts val="0"/>
              </a:spcBef>
              <a:spcAft>
                <a:spcPts val="600"/>
              </a:spcAft>
            </a:pPr>
            <a:r>
              <a:rPr lang="en-IN" sz="1800" dirty="0"/>
              <a:t>Most prominent issues found in examinations:</a:t>
            </a:r>
          </a:p>
          <a:p>
            <a:pPr marL="731520" indent="-365760">
              <a:spcBef>
                <a:spcPts val="0"/>
              </a:spcBef>
              <a:spcAft>
                <a:spcPts val="600"/>
              </a:spcAft>
            </a:pPr>
            <a:r>
              <a:rPr lang="en-IN" sz="1800" dirty="0"/>
              <a:t>Failure to meet supporting organization requirements </a:t>
            </a:r>
          </a:p>
          <a:p>
            <a:pPr marL="731520" indent="-365760">
              <a:spcBef>
                <a:spcPts val="0"/>
              </a:spcBef>
              <a:spcAft>
                <a:spcPts val="600"/>
              </a:spcAft>
            </a:pPr>
            <a:r>
              <a:rPr lang="en-IN" sz="1800" dirty="0"/>
              <a:t>Failure to operate for a tax-exempt purpose</a:t>
            </a:r>
          </a:p>
        </p:txBody>
      </p:sp>
    </p:spTree>
    <p:extLst>
      <p:ext uri="{BB962C8B-B14F-4D97-AF65-F5344CB8AC3E}">
        <p14:creationId xmlns:p14="http://schemas.microsoft.com/office/powerpoint/2010/main" val="3901660967"/>
      </p:ext>
    </p:extLst>
  </p:cSld>
  <p:clrMapOvr>
    <a:overrideClrMapping bg1="lt1" tx1="dk1" bg2="lt2" tx2="dk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B443E625-1532-229E-462D-04D413F10463}"/>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BDD3A87-2754-AE1A-8F09-B123CC365A3E}"/>
              </a:ext>
            </a:extLst>
          </p:cNvPr>
          <p:cNvGraphicFramePr>
            <a:graphicFrameLocks noChangeAspect="1"/>
          </p:cNvGraphicFramePr>
          <p:nvPr>
            <p:custDataLst>
              <p:tags r:id="rId2"/>
            </p:custDataLst>
            <p:extLst>
              <p:ext uri="{D42A27DB-BD31-4B8C-83A1-F6EECF244321}">
                <p14:modId xmlns:p14="http://schemas.microsoft.com/office/powerpoint/2010/main" val="44714737"/>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7BDD3A87-2754-AE1A-8F09-B123CC365A3E}"/>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9ECCD4-D20E-0F76-DEFC-F038BA663822}"/>
              </a:ext>
            </a:extLst>
          </p:cNvPr>
          <p:cNvSpPr>
            <a:spLocks noGrp="1"/>
          </p:cNvSpPr>
          <p:nvPr>
            <p:ph type="title"/>
          </p:nvPr>
        </p:nvSpPr>
        <p:spPr>
          <a:xfrm>
            <a:off x="488949" y="346075"/>
            <a:ext cx="11223625" cy="469900"/>
          </a:xfrm>
        </p:spPr>
        <p:txBody>
          <a:bodyPr vert="horz"/>
          <a:lstStyle/>
          <a:p>
            <a:r>
              <a:rPr lang="en-IN" dirty="0"/>
              <a:t>IRS TE/GE referrals, claims and other casework</a:t>
            </a:r>
            <a:endParaRPr lang="en-US" dirty="0"/>
          </a:p>
        </p:txBody>
      </p:sp>
      <p:sp>
        <p:nvSpPr>
          <p:cNvPr id="3" name="Content Placeholder 2">
            <a:extLst>
              <a:ext uri="{FF2B5EF4-FFF2-40B4-BE49-F238E27FC236}">
                <a16:creationId xmlns:a16="http://schemas.microsoft.com/office/drawing/2014/main" id="{A3C00A34-A9DA-348C-DF22-1EF7BD520563}"/>
              </a:ext>
            </a:extLst>
          </p:cNvPr>
          <p:cNvSpPr>
            <a:spLocks noGrp="1"/>
          </p:cNvSpPr>
          <p:nvPr>
            <p:ph type="body" sz="quarter" idx="4294967295"/>
          </p:nvPr>
        </p:nvSpPr>
        <p:spPr>
          <a:xfrm>
            <a:off x="479424" y="1412875"/>
            <a:ext cx="11233150" cy="4667138"/>
          </a:xfrm>
        </p:spPr>
        <p:txBody>
          <a:bodyPr/>
          <a:lstStyle/>
          <a:p>
            <a:pPr marL="365760" indent="-365760">
              <a:spcBef>
                <a:spcPts val="0"/>
              </a:spcBef>
              <a:spcAft>
                <a:spcPts val="600"/>
              </a:spcAft>
            </a:pPr>
            <a:r>
              <a:rPr lang="en-IN" sz="1800" dirty="0"/>
              <a:t>TE/GE and EO employ referrals, claims and other casework to identifying organizations to examine:</a:t>
            </a:r>
          </a:p>
          <a:p>
            <a:pPr marL="731520" indent="-365760">
              <a:spcBef>
                <a:spcPts val="0"/>
              </a:spcBef>
              <a:spcAft>
                <a:spcPts val="600"/>
              </a:spcAft>
            </a:pPr>
            <a:r>
              <a:rPr lang="en-IN" sz="1800" dirty="0"/>
              <a:t>Referrals of alleged noncompliance</a:t>
            </a:r>
          </a:p>
          <a:p>
            <a:pPr marL="731520" indent="-365760">
              <a:spcBef>
                <a:spcPts val="0"/>
              </a:spcBef>
              <a:spcAft>
                <a:spcPts val="600"/>
              </a:spcAft>
            </a:pPr>
            <a:r>
              <a:rPr lang="en-IN" sz="1800" dirty="0"/>
              <a:t>Claims for refunds, credits, adjustments</a:t>
            </a:r>
          </a:p>
          <a:p>
            <a:pPr marL="365760" indent="-365760">
              <a:spcBef>
                <a:spcPts val="0"/>
              </a:spcBef>
              <a:spcAft>
                <a:spcPts val="600"/>
              </a:spcAft>
            </a:pPr>
            <a:r>
              <a:rPr lang="en-IN" sz="1800" dirty="0"/>
              <a:t>Current priorities: </a:t>
            </a:r>
          </a:p>
          <a:p>
            <a:pPr marL="731520" indent="-365760">
              <a:spcBef>
                <a:spcPts val="0"/>
              </a:spcBef>
              <a:spcAft>
                <a:spcPts val="600"/>
              </a:spcAft>
            </a:pPr>
            <a:r>
              <a:rPr lang="en-IN" sz="1800" dirty="0"/>
              <a:t>Organizations claiming the Employee Retention Credit</a:t>
            </a:r>
          </a:p>
          <a:p>
            <a:pPr marL="731520" indent="-365760">
              <a:spcBef>
                <a:spcPts val="0"/>
              </a:spcBef>
              <a:spcAft>
                <a:spcPts val="600"/>
              </a:spcAft>
            </a:pPr>
            <a:r>
              <a:rPr lang="en-IN" sz="1800" dirty="0"/>
              <a:t>Organizations engaged in particularly abusive promoter schemes or transactions</a:t>
            </a:r>
          </a:p>
          <a:p>
            <a:pPr marL="731520" indent="-365760">
              <a:spcBef>
                <a:spcPts val="0"/>
              </a:spcBef>
              <a:spcAft>
                <a:spcPts val="600"/>
              </a:spcAft>
            </a:pPr>
            <a:r>
              <a:rPr lang="en-IN" sz="1800" dirty="0"/>
              <a:t>Organizations referred by both external and IRS sources</a:t>
            </a:r>
          </a:p>
          <a:p>
            <a:pPr marL="365760" indent="-365760">
              <a:spcBef>
                <a:spcPts val="0"/>
              </a:spcBef>
              <a:spcAft>
                <a:spcPts val="600"/>
              </a:spcAft>
            </a:pPr>
            <a:r>
              <a:rPr lang="en-IN" sz="1800" dirty="0"/>
              <a:t>Completed 1,212 referrals, claims and other casework examinations, with 79.5% change rate, compared to 81.3% in FY23</a:t>
            </a:r>
          </a:p>
          <a:p>
            <a:pPr marL="365760" indent="-365760">
              <a:spcBef>
                <a:spcPts val="0"/>
              </a:spcBef>
              <a:spcAft>
                <a:spcPts val="600"/>
              </a:spcAft>
            </a:pPr>
            <a:r>
              <a:rPr lang="en-IN" sz="1800" dirty="0"/>
              <a:t>Most prominent issues found in examinations:</a:t>
            </a:r>
          </a:p>
          <a:p>
            <a:pPr marL="731520" indent="-365760">
              <a:spcBef>
                <a:spcPts val="0"/>
              </a:spcBef>
              <a:spcAft>
                <a:spcPts val="600"/>
              </a:spcAft>
            </a:pPr>
            <a:r>
              <a:rPr lang="en-IN" sz="1800" dirty="0"/>
              <a:t>Employee Retention Credit ineligibility</a:t>
            </a:r>
          </a:p>
          <a:p>
            <a:pPr marL="731520" indent="-365760">
              <a:spcBef>
                <a:spcPts val="0"/>
              </a:spcBef>
              <a:spcAft>
                <a:spcPts val="600"/>
              </a:spcAft>
            </a:pPr>
            <a:r>
              <a:rPr lang="en-IN" sz="1800" dirty="0"/>
              <a:t>Presence of prohibited private benefit or inurement</a:t>
            </a:r>
          </a:p>
          <a:p>
            <a:pPr marL="731520" indent="-365760">
              <a:spcBef>
                <a:spcPts val="0"/>
              </a:spcBef>
              <a:spcAft>
                <a:spcPts val="600"/>
              </a:spcAft>
            </a:pPr>
            <a:r>
              <a:rPr lang="en-IN" sz="1800" dirty="0"/>
              <a:t>Failure to operate for a tax-exempt purpose</a:t>
            </a:r>
          </a:p>
        </p:txBody>
      </p:sp>
    </p:spTree>
    <p:extLst>
      <p:ext uri="{BB962C8B-B14F-4D97-AF65-F5344CB8AC3E}">
        <p14:creationId xmlns:p14="http://schemas.microsoft.com/office/powerpoint/2010/main" val="3090947947"/>
      </p:ext>
    </p:extLst>
  </p:cSld>
  <p:clrMapOvr>
    <a:overrideClrMapping bg1="lt1" tx1="dk1" bg2="lt2" tx2="dk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9D53ACC5-5522-9CAB-D66A-CCFB9057454A}"/>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319F7B1-2459-16EA-A8B1-1A078B004447}"/>
              </a:ext>
            </a:extLst>
          </p:cNvPr>
          <p:cNvGraphicFramePr>
            <a:graphicFrameLocks noChangeAspect="1"/>
          </p:cNvGraphicFramePr>
          <p:nvPr>
            <p:custDataLst>
              <p:tags r:id="rId2"/>
            </p:custDataLst>
            <p:extLst>
              <p:ext uri="{D42A27DB-BD31-4B8C-83A1-F6EECF244321}">
                <p14:modId xmlns:p14="http://schemas.microsoft.com/office/powerpoint/2010/main" val="823714529"/>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A319F7B1-2459-16EA-A8B1-1A078B004447}"/>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D999D52-569F-6AA7-5B40-87449AE6F2AD}"/>
              </a:ext>
            </a:extLst>
          </p:cNvPr>
          <p:cNvSpPr>
            <a:spLocks noGrp="1"/>
          </p:cNvSpPr>
          <p:nvPr>
            <p:ph type="title"/>
          </p:nvPr>
        </p:nvSpPr>
        <p:spPr>
          <a:xfrm>
            <a:off x="488949" y="346075"/>
            <a:ext cx="11223625" cy="469900"/>
          </a:xfrm>
        </p:spPr>
        <p:txBody>
          <a:bodyPr vert="horz"/>
          <a:lstStyle/>
          <a:p>
            <a:r>
              <a:rPr lang="en-IN" dirty="0"/>
              <a:t>IRS TE/GE compliance checks </a:t>
            </a:r>
            <a:endParaRPr lang="en-US" dirty="0"/>
          </a:p>
        </p:txBody>
      </p:sp>
      <p:sp>
        <p:nvSpPr>
          <p:cNvPr id="3" name="Content Placeholder 2">
            <a:extLst>
              <a:ext uri="{FF2B5EF4-FFF2-40B4-BE49-F238E27FC236}">
                <a16:creationId xmlns:a16="http://schemas.microsoft.com/office/drawing/2014/main" id="{8ADD6CF7-ECFD-52C8-A650-3EBE0A9C4436}"/>
              </a:ext>
            </a:extLst>
          </p:cNvPr>
          <p:cNvSpPr>
            <a:spLocks noGrp="1"/>
          </p:cNvSpPr>
          <p:nvPr>
            <p:ph type="body" sz="quarter" idx="4294967295"/>
          </p:nvPr>
        </p:nvSpPr>
        <p:spPr>
          <a:xfrm>
            <a:off x="479424" y="1412875"/>
            <a:ext cx="11233150" cy="4667138"/>
          </a:xfrm>
        </p:spPr>
        <p:txBody>
          <a:bodyPr/>
          <a:lstStyle/>
          <a:p>
            <a:pPr marL="365760" indent="-365760">
              <a:spcBef>
                <a:spcPts val="0"/>
              </a:spcBef>
              <a:spcAft>
                <a:spcPts val="600"/>
              </a:spcAft>
            </a:pPr>
            <a:r>
              <a:rPr lang="en-IN" sz="1800" dirty="0"/>
              <a:t>TE/GE and EO use compliance checks or soft letters to address potential noncompliance</a:t>
            </a:r>
          </a:p>
          <a:p>
            <a:pPr marL="365760" indent="-365760">
              <a:spcBef>
                <a:spcPts val="0"/>
              </a:spcBef>
              <a:spcAft>
                <a:spcPts val="600"/>
              </a:spcAft>
            </a:pPr>
            <a:r>
              <a:rPr lang="en-IN" sz="1800" dirty="0"/>
              <a:t>A compliance check is non-examination correspondence between the IRS and an exempt organization to:</a:t>
            </a:r>
          </a:p>
          <a:p>
            <a:pPr marL="731520" indent="-365760">
              <a:spcBef>
                <a:spcPts val="0"/>
              </a:spcBef>
              <a:spcAft>
                <a:spcPts val="600"/>
              </a:spcAft>
            </a:pPr>
            <a:r>
              <a:rPr lang="en-IN" sz="1800" dirty="0"/>
              <a:t>Ask about an item on a filed return</a:t>
            </a:r>
          </a:p>
          <a:p>
            <a:pPr marL="731520" indent="-365760">
              <a:spcBef>
                <a:spcPts val="0"/>
              </a:spcBef>
              <a:spcAft>
                <a:spcPts val="600"/>
              </a:spcAft>
            </a:pPr>
            <a:r>
              <a:rPr lang="en-IN" sz="1800" dirty="0"/>
              <a:t>Determine whether reporting requirements have been met</a:t>
            </a:r>
          </a:p>
          <a:p>
            <a:pPr marL="731520" indent="-365760">
              <a:spcBef>
                <a:spcPts val="0"/>
              </a:spcBef>
              <a:spcAft>
                <a:spcPts val="600"/>
              </a:spcAft>
            </a:pPr>
            <a:r>
              <a:rPr lang="en-IN" sz="1800" dirty="0"/>
              <a:t>Assess whether an organization’s activities are consistent with its tax-exempt purpose </a:t>
            </a:r>
          </a:p>
          <a:p>
            <a:pPr marL="365760" indent="-365760">
              <a:spcBef>
                <a:spcPts val="0"/>
              </a:spcBef>
              <a:spcAft>
                <a:spcPts val="600"/>
              </a:spcAft>
            </a:pPr>
            <a:r>
              <a:rPr lang="en-IN" sz="1800" dirty="0"/>
              <a:t>IRS soft letters:</a:t>
            </a:r>
          </a:p>
          <a:p>
            <a:pPr marL="731520" indent="-365760">
              <a:spcBef>
                <a:spcPts val="0"/>
              </a:spcBef>
              <a:spcAft>
                <a:spcPts val="600"/>
              </a:spcAft>
            </a:pPr>
            <a:r>
              <a:rPr lang="en-IN" sz="1800" dirty="0"/>
              <a:t>Notify organization of a change in law or compliance issue; responses not expected, but if received may be converted into a compliance check</a:t>
            </a:r>
          </a:p>
        </p:txBody>
      </p:sp>
    </p:spTree>
    <p:extLst>
      <p:ext uri="{BB962C8B-B14F-4D97-AF65-F5344CB8AC3E}">
        <p14:creationId xmlns:p14="http://schemas.microsoft.com/office/powerpoint/2010/main" val="726378700"/>
      </p:ext>
    </p:extLst>
  </p:cSld>
  <p:clrMapOvr>
    <a:overrideClrMapping bg1="lt1" tx1="dk1" bg2="lt2" tx2="dk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60F2474-BE7A-4EC9-38C7-49225077F4B8}"/>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FF924530-294F-F3A7-EB1A-003917C9AAF5}"/>
              </a:ext>
            </a:extLst>
          </p:cNvPr>
          <p:cNvSpPr>
            <a:spLocks noGrp="1"/>
          </p:cNvSpPr>
          <p:nvPr>
            <p:ph type="title"/>
          </p:nvPr>
        </p:nvSpPr>
        <p:spPr>
          <a:xfrm>
            <a:off x="485523" y="345396"/>
            <a:ext cx="11224347" cy="470898"/>
          </a:xfrm>
        </p:spPr>
        <p:txBody>
          <a:bodyPr/>
          <a:lstStyle/>
          <a:p>
            <a:r>
              <a:rPr lang="en-IN" dirty="0"/>
              <a:t>Polling question 4</a:t>
            </a:r>
          </a:p>
        </p:txBody>
      </p:sp>
      <p:sp>
        <p:nvSpPr>
          <p:cNvPr id="6" name="Content Placeholder 7">
            <a:extLst>
              <a:ext uri="{FF2B5EF4-FFF2-40B4-BE49-F238E27FC236}">
                <a16:creationId xmlns:a16="http://schemas.microsoft.com/office/drawing/2014/main" id="{E16E5F19-3295-77DF-50AD-37C740B9B3D5}"/>
              </a:ext>
            </a:extLst>
          </p:cNvPr>
          <p:cNvSpPr txBox="1">
            <a:spLocks/>
          </p:cNvSpPr>
          <p:nvPr/>
        </p:nvSpPr>
        <p:spPr>
          <a:xfrm>
            <a:off x="487775" y="2443025"/>
            <a:ext cx="11224800" cy="1711326"/>
          </a:xfrm>
          <a:prstGeom prst="rect">
            <a:avLst/>
          </a:prstGeom>
        </p:spPr>
        <p:txBody>
          <a:bodyPr lIns="0" tIns="0" rIns="0" bIns="0"/>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457200" lvl="1" indent="-457200">
              <a:spcBef>
                <a:spcPts val="0"/>
              </a:spcBef>
              <a:spcAft>
                <a:spcPts val="1200"/>
              </a:spcAft>
              <a:buFont typeface="+mj-lt"/>
              <a:buAutoNum type="alphaLcPeriod"/>
            </a:pPr>
            <a:r>
              <a:rPr lang="en-US" sz="2000" dirty="0">
                <a:solidFill>
                  <a:schemeClr val="lt1"/>
                </a:solidFill>
              </a:rPr>
              <a:t>Exempt organizations misfiling Form 990-N</a:t>
            </a:r>
          </a:p>
          <a:p>
            <a:pPr marL="457200" lvl="1" indent="-457200">
              <a:spcBef>
                <a:spcPts val="0"/>
              </a:spcBef>
              <a:spcAft>
                <a:spcPts val="1200"/>
              </a:spcAft>
              <a:buFont typeface="+mj-lt"/>
              <a:buAutoNum type="alphaLcPeriod"/>
            </a:pPr>
            <a:r>
              <a:rPr lang="en-US" sz="2000" dirty="0">
                <a:solidFill>
                  <a:schemeClr val="lt1"/>
                </a:solidFill>
              </a:rPr>
              <a:t>Misreporting Schedule B contributions</a:t>
            </a:r>
          </a:p>
          <a:p>
            <a:pPr marL="457200" lvl="1" indent="-457200">
              <a:spcBef>
                <a:spcPts val="0"/>
              </a:spcBef>
              <a:spcAft>
                <a:spcPts val="1200"/>
              </a:spcAft>
              <a:buFont typeface="+mj-lt"/>
              <a:buAutoNum type="alphaLcPeriod"/>
            </a:pPr>
            <a:r>
              <a:rPr lang="en-US" sz="2000" dirty="0">
                <a:solidFill>
                  <a:schemeClr val="lt1"/>
                </a:solidFill>
              </a:rPr>
              <a:t>Private benefit or inurement</a:t>
            </a:r>
          </a:p>
          <a:p>
            <a:pPr marL="457200" lvl="1" indent="-457200">
              <a:spcBef>
                <a:spcPts val="0"/>
              </a:spcBef>
              <a:spcAft>
                <a:spcPts val="1200"/>
              </a:spcAft>
              <a:buFont typeface="+mj-lt"/>
              <a:buAutoNum type="alphaLcPeriod"/>
            </a:pPr>
            <a:r>
              <a:rPr lang="en-US" sz="2000" dirty="0">
                <a:solidFill>
                  <a:schemeClr val="lt1"/>
                </a:solidFill>
              </a:rPr>
              <a:t>There are no priority compliance issues this year — everyone is doing a great job</a:t>
            </a:r>
          </a:p>
        </p:txBody>
      </p:sp>
      <p:sp>
        <p:nvSpPr>
          <p:cNvPr id="7" name="Rectangle 6">
            <a:extLst>
              <a:ext uri="{FF2B5EF4-FFF2-40B4-BE49-F238E27FC236}">
                <a16:creationId xmlns:a16="http://schemas.microsoft.com/office/drawing/2014/main" id="{1DDE075C-77E9-8C7C-22D1-E6D7B1E169AB}"/>
              </a:ext>
            </a:extLst>
          </p:cNvPr>
          <p:cNvSpPr>
            <a:spLocks/>
          </p:cNvSpPr>
          <p:nvPr/>
        </p:nvSpPr>
        <p:spPr>
          <a:xfrm>
            <a:off x="485523" y="1424450"/>
            <a:ext cx="11227052" cy="914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2E2E38"/>
                </a:solidFill>
              </a14:hiddenFill>
            </a:ext>
            <a:ext uri="{91240B29-F687-4F45-9708-019B960494DF}">
              <a14:hiddenLine xmlns:a14="http://schemas.microsoft.com/office/drawing/2010/main" w="12700" cap="flat" cmpd="sng" algn="ctr">
                <a:solidFill>
                  <a:srgbClr val="2E2E3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US" sz="2400" b="1" dirty="0"/>
              <a:t>What is one of the TE/GE priority compliance issues highlighted in TE/GE’s Accomplishments Letter for FY24?</a:t>
            </a:r>
          </a:p>
        </p:txBody>
      </p:sp>
    </p:spTree>
    <p:extLst>
      <p:ext uri="{BB962C8B-B14F-4D97-AF65-F5344CB8AC3E}">
        <p14:creationId xmlns:p14="http://schemas.microsoft.com/office/powerpoint/2010/main" val="12366996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660A124-4430-15AB-7A5E-FDF934BCE6AC}"/>
              </a:ext>
            </a:extLst>
          </p:cNvPr>
          <p:cNvSpPr>
            <a:spLocks noGrp="1"/>
          </p:cNvSpPr>
          <p:nvPr>
            <p:ph type="title"/>
          </p:nvPr>
        </p:nvSpPr>
        <p:spPr/>
        <p:txBody>
          <a:bodyPr/>
          <a:lstStyle/>
          <a:p>
            <a:r>
              <a:rPr lang="en-IN" dirty="0"/>
              <a:t>Disclaimer</a:t>
            </a:r>
          </a:p>
        </p:txBody>
      </p:sp>
      <p:sp>
        <p:nvSpPr>
          <p:cNvPr id="6" name="Text Placeholder 5">
            <a:extLst>
              <a:ext uri="{FF2B5EF4-FFF2-40B4-BE49-F238E27FC236}">
                <a16:creationId xmlns:a16="http://schemas.microsoft.com/office/drawing/2014/main" id="{54329EEF-15E3-D57A-E031-0DEA7D7F07FB}"/>
              </a:ext>
            </a:extLst>
          </p:cNvPr>
          <p:cNvSpPr txBox="1">
            <a:spLocks/>
          </p:cNvSpPr>
          <p:nvPr/>
        </p:nvSpPr>
        <p:spPr>
          <a:xfrm>
            <a:off x="491147" y="1412875"/>
            <a:ext cx="11221427" cy="4679950"/>
          </a:xfrm>
          <a:prstGeom prst="rect">
            <a:avLst/>
          </a:prstGeom>
        </p:spPr>
        <p:txBody>
          <a:bodyPr lIns="0" tIns="0" rIns="0" bIns="0"/>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365760" lvl="1" indent="-365760">
              <a:spcBef>
                <a:spcPts val="0"/>
              </a:spcBef>
              <a:spcAft>
                <a:spcPts val="600"/>
              </a:spcAft>
            </a:pPr>
            <a:r>
              <a:rPr lang="en-US" dirty="0"/>
              <a:t>EY refers to the global organization, and may refer to one or more, of the member firms of Ernst &amp; Young Global Limited, each of which is a separate legal entity. Ernst &amp; Young LLP is a client-serving member firm of Ernst &amp; Young Global Limited operating in the US.</a:t>
            </a:r>
          </a:p>
          <a:p>
            <a:pPr marL="365760" lvl="1" indent="-365760">
              <a:spcBef>
                <a:spcPts val="0"/>
              </a:spcBef>
              <a:spcAft>
                <a:spcPts val="600"/>
              </a:spcAft>
            </a:pPr>
            <a:r>
              <a:rPr lang="en-US" dirty="0"/>
              <a:t>This presentation is © 2025 Ernst &amp; Young LLP. All rights reserved. No part of this document may be reproduced, transmitted or otherwise distributed in any form or by any means, electronic or mechanical, including by photocopying, facsimile transmission, recording, rekeying, or using any information storage and retrieval system, without written permission from Ernst &amp; Young LLP. Any reproduction, transmission or distribution of this form or any of the material herein is prohibited and is in violation of US and international law. Ernst &amp; Young LLP expressly disclaims any liability in connection with use of this presentation or its contents by any third party.</a:t>
            </a:r>
          </a:p>
          <a:p>
            <a:pPr marL="365760" lvl="1" indent="-365760">
              <a:spcBef>
                <a:spcPts val="0"/>
              </a:spcBef>
              <a:spcAft>
                <a:spcPts val="600"/>
              </a:spcAft>
            </a:pPr>
            <a:r>
              <a:rPr lang="en-US" dirty="0"/>
              <a:t>Views expressed in this presentation are those of the speakers and do not necessarily represent the views of </a:t>
            </a:r>
            <a:br>
              <a:rPr lang="en-US" dirty="0"/>
            </a:br>
            <a:r>
              <a:rPr lang="en-US" dirty="0"/>
              <a:t>Ernst &amp; Young LLP. </a:t>
            </a:r>
          </a:p>
          <a:p>
            <a:pPr marL="365760" lvl="1" indent="-365760">
              <a:spcBef>
                <a:spcPts val="0"/>
              </a:spcBef>
              <a:spcAft>
                <a:spcPts val="600"/>
              </a:spcAft>
            </a:pPr>
            <a:r>
              <a:rPr lang="en-US" dirty="0"/>
              <a:t>This presentation is provided solely for the purpose of enhancing knowledge on tax matters. It does not provide accounting, tax or other professional advice because it does not take into account any specific taxpayer’s facts and circumstances. </a:t>
            </a:r>
          </a:p>
          <a:p>
            <a:pPr marL="365760" lvl="1" indent="-365760">
              <a:spcBef>
                <a:spcPts val="0"/>
              </a:spcBef>
              <a:spcAft>
                <a:spcPts val="600"/>
              </a:spcAft>
            </a:pPr>
            <a:r>
              <a:rPr lang="en-US" dirty="0"/>
              <a:t>Neither EY nor any member firm thereof shall bear any responsibility whatsoever for the content, accuracy or security of any third-party websites that are linked (by way of hyperlink or otherwise) in this presentation. </a:t>
            </a:r>
          </a:p>
        </p:txBody>
      </p:sp>
    </p:spTree>
    <p:extLst>
      <p:ext uri="{BB962C8B-B14F-4D97-AF65-F5344CB8AC3E}">
        <p14:creationId xmlns:p14="http://schemas.microsoft.com/office/powerpoint/2010/main" val="23525835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BD412E-D7FA-CEA6-9C1F-D014CF18E96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4A8608-F76A-A5DF-837E-64A13F8D8B18}"/>
              </a:ext>
            </a:extLst>
          </p:cNvPr>
          <p:cNvSpPr>
            <a:spLocks noGrp="1"/>
          </p:cNvSpPr>
          <p:nvPr>
            <p:ph type="title"/>
          </p:nvPr>
        </p:nvSpPr>
        <p:spPr>
          <a:xfrm>
            <a:off x="485775" y="1970406"/>
            <a:ext cx="7296353" cy="2869882"/>
          </a:xfrm>
        </p:spPr>
        <p:txBody>
          <a:bodyPr/>
          <a:lstStyle/>
          <a:p>
            <a:r>
              <a:rPr lang="en-IN" dirty="0"/>
              <a:t>IRS/Treasury Priority Guidance Plan 2024–2025</a:t>
            </a:r>
          </a:p>
        </p:txBody>
      </p:sp>
    </p:spTree>
    <p:extLst>
      <p:ext uri="{BB962C8B-B14F-4D97-AF65-F5344CB8AC3E}">
        <p14:creationId xmlns:p14="http://schemas.microsoft.com/office/powerpoint/2010/main" val="387112955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C67DF-B8F5-736C-F9DE-DD899E06263C}"/>
              </a:ext>
            </a:extLst>
          </p:cNvPr>
          <p:cNvSpPr>
            <a:spLocks noGrp="1"/>
          </p:cNvSpPr>
          <p:nvPr>
            <p:ph type="title"/>
          </p:nvPr>
        </p:nvSpPr>
        <p:spPr>
          <a:xfrm>
            <a:off x="485523" y="345396"/>
            <a:ext cx="11224347" cy="470898"/>
          </a:xfrm>
        </p:spPr>
        <p:txBody>
          <a:bodyPr anchor="t">
            <a:normAutofit/>
          </a:bodyPr>
          <a:lstStyle/>
          <a:p>
            <a:r>
              <a:rPr lang="en-US" dirty="0"/>
              <a:t>Department of the Treasury FY24-25 Priority Guidance Plan</a:t>
            </a:r>
          </a:p>
        </p:txBody>
      </p:sp>
      <p:sp>
        <p:nvSpPr>
          <p:cNvPr id="3" name="Content Placeholder 2">
            <a:extLst>
              <a:ext uri="{FF2B5EF4-FFF2-40B4-BE49-F238E27FC236}">
                <a16:creationId xmlns:a16="http://schemas.microsoft.com/office/drawing/2014/main" id="{58E8D7BC-B0E0-5193-4BC5-63E312E41B36}"/>
              </a:ext>
            </a:extLst>
          </p:cNvPr>
          <p:cNvSpPr>
            <a:spLocks noGrp="1"/>
          </p:cNvSpPr>
          <p:nvPr>
            <p:ph sz="quarter" idx="4294967295"/>
          </p:nvPr>
        </p:nvSpPr>
        <p:spPr>
          <a:xfrm>
            <a:off x="479425" y="1424025"/>
            <a:ext cx="5356225" cy="4638675"/>
          </a:xfrm>
        </p:spPr>
        <p:txBody>
          <a:bodyPr anchor="t">
            <a:normAutofit/>
          </a:bodyPr>
          <a:lstStyle/>
          <a:p>
            <a:pPr marL="365760" indent="-365760">
              <a:spcBef>
                <a:spcPts val="0"/>
              </a:spcBef>
              <a:spcAft>
                <a:spcPts val="600"/>
              </a:spcAft>
            </a:pPr>
            <a:r>
              <a:rPr lang="en-US" sz="1800" dirty="0"/>
              <a:t>Identifies priorities for allocating Treasury and IRS resources for the year (July 1, 2024 through June 30, 2025)</a:t>
            </a:r>
          </a:p>
          <a:p>
            <a:pPr marL="365760" indent="-365760">
              <a:spcBef>
                <a:spcPts val="0"/>
              </a:spcBef>
              <a:spcAft>
                <a:spcPts val="600"/>
              </a:spcAft>
            </a:pPr>
            <a:r>
              <a:rPr lang="en-US" sz="1800" dirty="0"/>
              <a:t>Aims to focus resources on guidance items that are most important to taxpayers and tax administration</a:t>
            </a:r>
          </a:p>
          <a:p>
            <a:pPr marL="365760" indent="-365760">
              <a:spcBef>
                <a:spcPts val="0"/>
              </a:spcBef>
              <a:spcAft>
                <a:spcPts val="600"/>
              </a:spcAft>
            </a:pPr>
            <a:r>
              <a:rPr lang="en-US" sz="1800" dirty="0"/>
              <a:t>Ten priority guidance items specifically pertain to tax-exempt organizations </a:t>
            </a:r>
          </a:p>
        </p:txBody>
      </p:sp>
      <p:pic>
        <p:nvPicPr>
          <p:cNvPr id="6" name="Picture 5" descr="A person using a calculator&#10;&#10;AI-generated content may be incorrect.">
            <a:extLst>
              <a:ext uri="{FF2B5EF4-FFF2-40B4-BE49-F238E27FC236}">
                <a16:creationId xmlns:a16="http://schemas.microsoft.com/office/drawing/2014/main" id="{09BF71AA-5DA2-035E-94DA-FB950D99BA3E}"/>
              </a:ext>
            </a:extLst>
          </p:cNvPr>
          <p:cNvPicPr>
            <a:picLocks noChangeAspect="1"/>
          </p:cNvPicPr>
          <p:nvPr/>
        </p:nvPicPr>
        <p:blipFill>
          <a:blip r:embed="rId3"/>
          <a:srcRect l="27812" t="25954" r="19990" b="5805"/>
          <a:stretch/>
        </p:blipFill>
        <p:spPr>
          <a:xfrm>
            <a:off x="6361890" y="1419295"/>
            <a:ext cx="5370141" cy="4679950"/>
          </a:xfrm>
          <a:prstGeom prst="rect">
            <a:avLst/>
          </a:prstGeom>
        </p:spPr>
      </p:pic>
    </p:spTree>
    <p:extLst>
      <p:ext uri="{BB962C8B-B14F-4D97-AF65-F5344CB8AC3E}">
        <p14:creationId xmlns:p14="http://schemas.microsoft.com/office/powerpoint/2010/main" val="399756088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81F43468-C833-7A0B-223F-D1840A9772C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20E2B3A-AB38-6146-621D-025C4DD76AD5}"/>
              </a:ext>
            </a:extLst>
          </p:cNvPr>
          <p:cNvGraphicFramePr>
            <a:graphicFrameLocks noChangeAspect="1"/>
          </p:cNvGraphicFramePr>
          <p:nvPr>
            <p:custDataLst>
              <p:tags r:id="rId2"/>
            </p:custDataLst>
            <p:extLst>
              <p:ext uri="{D42A27DB-BD31-4B8C-83A1-F6EECF244321}">
                <p14:modId xmlns:p14="http://schemas.microsoft.com/office/powerpoint/2010/main" val="2618891204"/>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820E2B3A-AB38-6146-621D-025C4DD76AD5}"/>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E8CEF7B-E76D-9A8B-D4CB-6FE5A6AC90A0}"/>
              </a:ext>
            </a:extLst>
          </p:cNvPr>
          <p:cNvSpPr>
            <a:spLocks noGrp="1"/>
          </p:cNvSpPr>
          <p:nvPr>
            <p:ph type="title"/>
          </p:nvPr>
        </p:nvSpPr>
        <p:spPr>
          <a:xfrm>
            <a:off x="488949" y="346075"/>
            <a:ext cx="11223625" cy="469900"/>
          </a:xfrm>
        </p:spPr>
        <p:txBody>
          <a:bodyPr vert="horz"/>
          <a:lstStyle/>
          <a:p>
            <a:r>
              <a:rPr lang="en-IN" dirty="0"/>
              <a:t>2024–2025 Priority Guidance Plan: exempt organizations items</a:t>
            </a:r>
            <a:endParaRPr lang="en-US" dirty="0"/>
          </a:p>
        </p:txBody>
      </p:sp>
      <p:sp>
        <p:nvSpPr>
          <p:cNvPr id="3" name="Content Placeholder 2">
            <a:extLst>
              <a:ext uri="{FF2B5EF4-FFF2-40B4-BE49-F238E27FC236}">
                <a16:creationId xmlns:a16="http://schemas.microsoft.com/office/drawing/2014/main" id="{D843BD72-DE0C-944E-7F32-478DA310CF63}"/>
              </a:ext>
            </a:extLst>
          </p:cNvPr>
          <p:cNvSpPr>
            <a:spLocks noGrp="1"/>
          </p:cNvSpPr>
          <p:nvPr>
            <p:ph type="body" sz="quarter" idx="4294967295"/>
          </p:nvPr>
        </p:nvSpPr>
        <p:spPr>
          <a:xfrm>
            <a:off x="479423" y="1412875"/>
            <a:ext cx="11322433" cy="4667138"/>
          </a:xfrm>
        </p:spPr>
        <p:txBody>
          <a:bodyPr/>
          <a:lstStyle/>
          <a:p>
            <a:pPr marL="365760" indent="-365760">
              <a:spcBef>
                <a:spcPts val="0"/>
              </a:spcBef>
              <a:spcAft>
                <a:spcPts val="600"/>
              </a:spcAft>
              <a:buFont typeface="+mj-lt"/>
              <a:buAutoNum type="arabicPeriod"/>
            </a:pPr>
            <a:r>
              <a:rPr lang="en-IN" sz="1800" dirty="0"/>
              <a:t>Group exemptions</a:t>
            </a:r>
          </a:p>
          <a:p>
            <a:pPr marL="365760" indent="-365760">
              <a:spcBef>
                <a:spcPts val="0"/>
              </a:spcBef>
              <a:spcAft>
                <a:spcPts val="600"/>
              </a:spcAft>
              <a:buFont typeface="+mj-lt"/>
              <a:buAutoNum type="arabicPeriod"/>
            </a:pPr>
            <a:r>
              <a:rPr lang="en-IN" sz="1800" dirty="0"/>
              <a:t>Tax-exempt hospitals — guidance illustrating application of regulations under IRC Section 501(r) </a:t>
            </a:r>
          </a:p>
          <a:p>
            <a:pPr marL="365760" indent="-365760">
              <a:spcBef>
                <a:spcPts val="0"/>
              </a:spcBef>
              <a:spcAft>
                <a:spcPts val="600"/>
              </a:spcAft>
              <a:buFont typeface="+mj-lt"/>
              <a:buAutoNum type="arabicPeriod"/>
            </a:pPr>
            <a:r>
              <a:rPr lang="en-IN" sz="1800" dirty="0"/>
              <a:t>Unrelated business taxable income expense allocation methodology under IRC Section 512</a:t>
            </a:r>
          </a:p>
          <a:p>
            <a:pPr marL="365760" indent="-365760">
              <a:spcBef>
                <a:spcPts val="0"/>
              </a:spcBef>
              <a:spcAft>
                <a:spcPts val="600"/>
              </a:spcAft>
              <a:buFont typeface="+mj-lt"/>
              <a:buAutoNum type="arabicPeriod"/>
            </a:pPr>
            <a:r>
              <a:rPr lang="en-IN" sz="1800" dirty="0"/>
              <a:t>Qualified tuition programs under IRC Section 529</a:t>
            </a:r>
          </a:p>
          <a:p>
            <a:pPr marL="365760" indent="-365760">
              <a:spcBef>
                <a:spcPts val="0"/>
              </a:spcBef>
              <a:spcAft>
                <a:spcPts val="600"/>
              </a:spcAft>
              <a:buFont typeface="+mj-lt"/>
              <a:buAutoNum type="arabicPeriod"/>
            </a:pPr>
            <a:r>
              <a:rPr lang="en-IN" sz="1800" dirty="0"/>
              <a:t>Self-dealing from co-investment between private foundation and disqualified persons under IRC Section 4941</a:t>
            </a:r>
          </a:p>
          <a:p>
            <a:pPr marL="365760" indent="-365760">
              <a:spcBef>
                <a:spcPts val="0"/>
              </a:spcBef>
              <a:spcAft>
                <a:spcPts val="600"/>
              </a:spcAft>
              <a:buFont typeface="+mj-lt"/>
              <a:buAutoNum type="arabicPeriod"/>
            </a:pPr>
            <a:r>
              <a:rPr lang="en-IN" sz="1800" dirty="0"/>
              <a:t>Donor-advised funds (DAFs) — final regulations regarding excise taxes on taxable distributions under IRC Section 4966 (proposed regulations published November 14, 2023)</a:t>
            </a:r>
          </a:p>
          <a:p>
            <a:pPr marL="365760" indent="-365760">
              <a:spcBef>
                <a:spcPts val="0"/>
              </a:spcBef>
              <a:spcAft>
                <a:spcPts val="600"/>
              </a:spcAft>
              <a:buFont typeface="+mj-lt"/>
              <a:buAutoNum type="arabicPeriod"/>
            </a:pPr>
            <a:r>
              <a:rPr lang="en-IN" sz="1800" dirty="0"/>
              <a:t>DAFs — supporting organization regulations under IRC Section 4958</a:t>
            </a:r>
          </a:p>
          <a:p>
            <a:pPr marL="365760" indent="-365760">
              <a:spcBef>
                <a:spcPts val="0"/>
              </a:spcBef>
              <a:spcAft>
                <a:spcPts val="600"/>
              </a:spcAft>
              <a:buFont typeface="+mj-lt"/>
              <a:buAutoNum type="arabicPeriod"/>
            </a:pPr>
            <a:r>
              <a:rPr lang="en-IN" sz="1800" dirty="0"/>
              <a:t>DAFs — regulations on prohibited benefits to, and excise taxes imposed on, donors/related persons/fund managers under IRC Section 4967</a:t>
            </a:r>
          </a:p>
          <a:p>
            <a:pPr marL="365760" indent="-365760">
              <a:spcBef>
                <a:spcPts val="0"/>
              </a:spcBef>
              <a:spcAft>
                <a:spcPts val="600"/>
              </a:spcAft>
              <a:buFont typeface="+mj-lt"/>
              <a:buAutoNum type="arabicPeriod"/>
            </a:pPr>
            <a:r>
              <a:rPr lang="en-IN" sz="1800" dirty="0"/>
              <a:t>DAFs — guidance regarding public support computation relating to distributions from DAFs to public charities</a:t>
            </a:r>
          </a:p>
          <a:p>
            <a:pPr marL="365760" indent="-365760">
              <a:spcBef>
                <a:spcPts val="0"/>
              </a:spcBef>
              <a:spcAft>
                <a:spcPts val="600"/>
              </a:spcAft>
              <a:buFont typeface="+mj-lt"/>
              <a:buAutoNum type="arabicPeriod"/>
            </a:pPr>
            <a:r>
              <a:rPr lang="en-IN" sz="1800" dirty="0"/>
              <a:t>Appropriate high-level Treasury official who can approve IRS examinations of churches under IRC Section 7611</a:t>
            </a:r>
          </a:p>
        </p:txBody>
      </p:sp>
    </p:spTree>
    <p:extLst>
      <p:ext uri="{BB962C8B-B14F-4D97-AF65-F5344CB8AC3E}">
        <p14:creationId xmlns:p14="http://schemas.microsoft.com/office/powerpoint/2010/main" val="1810919062"/>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6F7BD724-7993-6838-8619-8DBCEEA2E14A}"/>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3214F9A-2102-927A-701F-ADA56F08E2E1}"/>
              </a:ext>
            </a:extLst>
          </p:cNvPr>
          <p:cNvGraphicFramePr>
            <a:graphicFrameLocks noChangeAspect="1"/>
          </p:cNvGraphicFramePr>
          <p:nvPr>
            <p:custDataLst>
              <p:tags r:id="rId2"/>
            </p:custDataLst>
            <p:extLst>
              <p:ext uri="{D42A27DB-BD31-4B8C-83A1-F6EECF244321}">
                <p14:modId xmlns:p14="http://schemas.microsoft.com/office/powerpoint/2010/main" val="3673362043"/>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43214F9A-2102-927A-701F-ADA56F08E2E1}"/>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DC7FB5D-4032-3230-F1D3-637D36B0F50C}"/>
              </a:ext>
            </a:extLst>
          </p:cNvPr>
          <p:cNvSpPr>
            <a:spLocks noGrp="1"/>
          </p:cNvSpPr>
          <p:nvPr>
            <p:ph type="title"/>
          </p:nvPr>
        </p:nvSpPr>
        <p:spPr>
          <a:xfrm>
            <a:off x="488949" y="346075"/>
            <a:ext cx="11223626" cy="469900"/>
          </a:xfrm>
        </p:spPr>
        <p:txBody>
          <a:bodyPr vert="horz"/>
          <a:lstStyle/>
          <a:p>
            <a:r>
              <a:rPr lang="en-IN" dirty="0"/>
              <a:t>2024–2025 Priority Guidance Plan: other projects affecting EOs</a:t>
            </a:r>
            <a:endParaRPr lang="en-US" dirty="0"/>
          </a:p>
        </p:txBody>
      </p:sp>
      <p:sp>
        <p:nvSpPr>
          <p:cNvPr id="3" name="Content Placeholder 2">
            <a:extLst>
              <a:ext uri="{FF2B5EF4-FFF2-40B4-BE49-F238E27FC236}">
                <a16:creationId xmlns:a16="http://schemas.microsoft.com/office/drawing/2014/main" id="{7419B4E7-271D-4521-1B14-29942493C7B8}"/>
              </a:ext>
            </a:extLst>
          </p:cNvPr>
          <p:cNvSpPr>
            <a:spLocks noGrp="1"/>
          </p:cNvSpPr>
          <p:nvPr>
            <p:ph type="body" sz="quarter" idx="4294967295"/>
          </p:nvPr>
        </p:nvSpPr>
        <p:spPr>
          <a:xfrm>
            <a:off x="479423" y="1412875"/>
            <a:ext cx="5504882" cy="1279525"/>
          </a:xfrm>
        </p:spPr>
        <p:txBody>
          <a:bodyPr/>
          <a:lstStyle/>
          <a:p>
            <a:pPr marL="365760" indent="-365760">
              <a:spcBef>
                <a:spcPts val="0"/>
              </a:spcBef>
              <a:spcAft>
                <a:spcPts val="1200"/>
              </a:spcAft>
              <a:buFont typeface="+mj-lt"/>
              <a:buAutoNum type="arabicPeriod"/>
            </a:pPr>
            <a:r>
              <a:rPr lang="en-IN" sz="1800" dirty="0"/>
              <a:t>Charitable giving</a:t>
            </a:r>
          </a:p>
          <a:p>
            <a:pPr marL="365760" indent="-365760">
              <a:spcBef>
                <a:spcPts val="0"/>
              </a:spcBef>
              <a:spcAft>
                <a:spcPts val="1200"/>
              </a:spcAft>
              <a:buFont typeface="+mj-lt"/>
              <a:buAutoNum type="arabicPeriod"/>
            </a:pPr>
            <a:r>
              <a:rPr lang="en-IN" sz="1800" dirty="0"/>
              <a:t>Employee benefits</a:t>
            </a:r>
          </a:p>
          <a:p>
            <a:pPr marL="365760" indent="-365760">
              <a:spcBef>
                <a:spcPts val="0"/>
              </a:spcBef>
              <a:spcAft>
                <a:spcPts val="1200"/>
              </a:spcAft>
              <a:buFont typeface="+mj-lt"/>
              <a:buAutoNum type="arabicPeriod"/>
            </a:pPr>
            <a:r>
              <a:rPr lang="en-IN" sz="1800" dirty="0"/>
              <a:t>Clean energy incentives</a:t>
            </a:r>
          </a:p>
        </p:txBody>
      </p:sp>
      <p:pic>
        <p:nvPicPr>
          <p:cNvPr id="4" name="Picture 3">
            <a:extLst>
              <a:ext uri="{FF2B5EF4-FFF2-40B4-BE49-F238E27FC236}">
                <a16:creationId xmlns:a16="http://schemas.microsoft.com/office/drawing/2014/main" id="{A3943D51-87D6-6DCE-AD52-2FC9FC900CEB}"/>
              </a:ext>
            </a:extLst>
          </p:cNvPr>
          <p:cNvPicPr>
            <a:picLocks/>
          </p:cNvPicPr>
          <p:nvPr/>
        </p:nvPicPr>
        <p:blipFill>
          <a:blip r:embed="rId7"/>
          <a:srcRect l="13016" r="13016"/>
          <a:stretch/>
        </p:blipFill>
        <p:spPr>
          <a:xfrm>
            <a:off x="4341177" y="2920999"/>
            <a:ext cx="3519170" cy="3171825"/>
          </a:xfrm>
          <a:prstGeom prst="rect">
            <a:avLst/>
          </a:prstGeom>
          <a:noFill/>
        </p:spPr>
      </p:pic>
      <p:pic>
        <p:nvPicPr>
          <p:cNvPr id="5" name="Picture 4">
            <a:extLst>
              <a:ext uri="{FF2B5EF4-FFF2-40B4-BE49-F238E27FC236}">
                <a16:creationId xmlns:a16="http://schemas.microsoft.com/office/drawing/2014/main" id="{1C87D67F-544C-15E9-4230-C61EB2EA2736}"/>
              </a:ext>
            </a:extLst>
          </p:cNvPr>
          <p:cNvPicPr>
            <a:picLocks noChangeAspect="1"/>
          </p:cNvPicPr>
          <p:nvPr/>
        </p:nvPicPr>
        <p:blipFill>
          <a:blip r:embed="rId8"/>
          <a:srcRect l="13016" r="13016"/>
          <a:stretch/>
        </p:blipFill>
        <p:spPr>
          <a:xfrm>
            <a:off x="8193405" y="2921000"/>
            <a:ext cx="3519170" cy="3171825"/>
          </a:xfrm>
          <a:prstGeom prst="rect">
            <a:avLst/>
          </a:prstGeom>
        </p:spPr>
      </p:pic>
      <p:pic>
        <p:nvPicPr>
          <p:cNvPr id="9" name="Picture 8" descr="A close-up of a person holding a hand&#10;&#10;AI-generated content may be incorrect.">
            <a:extLst>
              <a:ext uri="{FF2B5EF4-FFF2-40B4-BE49-F238E27FC236}">
                <a16:creationId xmlns:a16="http://schemas.microsoft.com/office/drawing/2014/main" id="{8451EF51-710E-940B-E961-7F2CA1A55614}"/>
              </a:ext>
            </a:extLst>
          </p:cNvPr>
          <p:cNvPicPr>
            <a:picLocks noChangeAspect="1"/>
          </p:cNvPicPr>
          <p:nvPr/>
        </p:nvPicPr>
        <p:blipFill>
          <a:blip r:embed="rId9"/>
          <a:srcRect l="21559" t="4887" r="13060" b="835"/>
          <a:stretch/>
        </p:blipFill>
        <p:spPr>
          <a:xfrm>
            <a:off x="479425" y="2908300"/>
            <a:ext cx="3533776" cy="3184525"/>
          </a:xfrm>
          <a:prstGeom prst="rect">
            <a:avLst/>
          </a:prstGeom>
        </p:spPr>
      </p:pic>
    </p:spTree>
    <p:extLst>
      <p:ext uri="{BB962C8B-B14F-4D97-AF65-F5344CB8AC3E}">
        <p14:creationId xmlns:p14="http://schemas.microsoft.com/office/powerpoint/2010/main" val="2766523386"/>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DC26022-B7AE-BBF8-15D2-1075CAF1421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80C9A3A-614F-4911-0D99-7AD07149EDB0}"/>
              </a:ext>
            </a:extLst>
          </p:cNvPr>
          <p:cNvSpPr>
            <a:spLocks noGrp="1"/>
          </p:cNvSpPr>
          <p:nvPr>
            <p:ph type="title"/>
          </p:nvPr>
        </p:nvSpPr>
        <p:spPr>
          <a:xfrm>
            <a:off x="485775" y="1970406"/>
            <a:ext cx="7394575" cy="2869882"/>
          </a:xfrm>
        </p:spPr>
        <p:txBody>
          <a:bodyPr/>
          <a:lstStyle/>
          <a:p>
            <a:r>
              <a:rPr lang="en-IN" dirty="0"/>
              <a:t>2024 Forms 990 and 990-T changes</a:t>
            </a:r>
          </a:p>
        </p:txBody>
      </p:sp>
    </p:spTree>
    <p:extLst>
      <p:ext uri="{BB962C8B-B14F-4D97-AF65-F5344CB8AC3E}">
        <p14:creationId xmlns:p14="http://schemas.microsoft.com/office/powerpoint/2010/main" val="4216202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EDE01C0F-18AD-095E-ADAE-F9EA4BAD108C}"/>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CAD81FD-E628-F6CF-F839-02609D4086A7}"/>
              </a:ext>
            </a:extLst>
          </p:cNvPr>
          <p:cNvGraphicFramePr>
            <a:graphicFrameLocks noChangeAspect="1"/>
          </p:cNvGraphicFramePr>
          <p:nvPr>
            <p:custDataLst>
              <p:tags r:id="rId2"/>
            </p:custDataLst>
            <p:extLst>
              <p:ext uri="{D42A27DB-BD31-4B8C-83A1-F6EECF244321}">
                <p14:modId xmlns:p14="http://schemas.microsoft.com/office/powerpoint/2010/main" val="2498041777"/>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9CAD81FD-E628-F6CF-F839-02609D4086A7}"/>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C16CF9-0CCA-12D6-4043-C021A8CD4DAF}"/>
              </a:ext>
            </a:extLst>
          </p:cNvPr>
          <p:cNvSpPr>
            <a:spLocks noGrp="1"/>
          </p:cNvSpPr>
          <p:nvPr>
            <p:ph type="title"/>
          </p:nvPr>
        </p:nvSpPr>
        <p:spPr>
          <a:xfrm>
            <a:off x="488949" y="346075"/>
            <a:ext cx="11223625" cy="469900"/>
          </a:xfrm>
        </p:spPr>
        <p:txBody>
          <a:bodyPr vert="horz"/>
          <a:lstStyle/>
          <a:p>
            <a:r>
              <a:rPr lang="en-US" dirty="0"/>
              <a:t>2024 updates — Forms 990, 990-T</a:t>
            </a:r>
          </a:p>
        </p:txBody>
      </p:sp>
      <p:sp>
        <p:nvSpPr>
          <p:cNvPr id="3" name="Content Placeholder 2">
            <a:extLst>
              <a:ext uri="{FF2B5EF4-FFF2-40B4-BE49-F238E27FC236}">
                <a16:creationId xmlns:a16="http://schemas.microsoft.com/office/drawing/2014/main" id="{5E7231F4-C159-FFDF-FD77-7D1D0265DEEF}"/>
              </a:ext>
            </a:extLst>
          </p:cNvPr>
          <p:cNvSpPr>
            <a:spLocks noGrp="1"/>
          </p:cNvSpPr>
          <p:nvPr>
            <p:ph type="body" sz="quarter" idx="4294967295"/>
          </p:nvPr>
        </p:nvSpPr>
        <p:spPr>
          <a:xfrm>
            <a:off x="479424" y="1844787"/>
            <a:ext cx="5486399" cy="1762013"/>
          </a:xfrm>
        </p:spPr>
        <p:txBody>
          <a:bodyPr/>
          <a:lstStyle/>
          <a:p>
            <a:pPr marL="365760" indent="-365760">
              <a:spcBef>
                <a:spcPts val="0"/>
              </a:spcBef>
              <a:spcAft>
                <a:spcPts val="1200"/>
              </a:spcAft>
            </a:pPr>
            <a:r>
              <a:rPr lang="en-IN" sz="1800" dirty="0"/>
              <a:t>Failure-to-file penalty increases</a:t>
            </a:r>
          </a:p>
          <a:p>
            <a:pPr marL="365760" indent="-365760">
              <a:spcBef>
                <a:spcPts val="0"/>
              </a:spcBef>
              <a:spcAft>
                <a:spcPts val="1200"/>
              </a:spcAft>
            </a:pPr>
            <a:r>
              <a:rPr lang="en-IN" sz="1800" dirty="0"/>
              <a:t>Form 990 Schedules: several updated to continuous-use form and instructions</a:t>
            </a:r>
          </a:p>
          <a:p>
            <a:pPr marL="365760" indent="-365760">
              <a:spcBef>
                <a:spcPts val="0"/>
              </a:spcBef>
              <a:spcAft>
                <a:spcPts val="1200"/>
              </a:spcAft>
            </a:pPr>
            <a:r>
              <a:rPr lang="en-IN" sz="1800" dirty="0"/>
              <a:t>Limited substantive changes to Forms 990 and 990-PF, Schedules and instructions for 2024</a:t>
            </a:r>
          </a:p>
        </p:txBody>
      </p:sp>
      <p:sp>
        <p:nvSpPr>
          <p:cNvPr id="4" name="Content Placeholder 2">
            <a:extLst>
              <a:ext uri="{FF2B5EF4-FFF2-40B4-BE49-F238E27FC236}">
                <a16:creationId xmlns:a16="http://schemas.microsoft.com/office/drawing/2014/main" id="{97383FBA-FA0B-7FFA-A5B3-EE190FF37A2C}"/>
              </a:ext>
            </a:extLst>
          </p:cNvPr>
          <p:cNvSpPr txBox="1">
            <a:spLocks/>
          </p:cNvSpPr>
          <p:nvPr/>
        </p:nvSpPr>
        <p:spPr>
          <a:xfrm>
            <a:off x="479423" y="1426965"/>
            <a:ext cx="5486400" cy="441268"/>
          </a:xfrm>
          <a:prstGeom prst="rect">
            <a:avLst/>
          </a:prstGeom>
        </p:spPr>
        <p:txBody>
          <a:bodyPr lIns="0" tIns="0" rIns="0" bIns="0"/>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spcAft>
                <a:spcPts val="1199"/>
              </a:spcAft>
              <a:buFont typeface="Wingdings" pitchFamily="2" charset="2"/>
              <a:buNone/>
            </a:pPr>
            <a:r>
              <a:rPr lang="en-IN" sz="1800" b="1" dirty="0">
                <a:solidFill>
                  <a:schemeClr val="tx2"/>
                </a:solidFill>
              </a:rPr>
              <a:t>Form 990 and 990-PF highlights:</a:t>
            </a:r>
          </a:p>
        </p:txBody>
      </p:sp>
      <p:sp>
        <p:nvSpPr>
          <p:cNvPr id="5" name="Content Placeholder 2">
            <a:extLst>
              <a:ext uri="{FF2B5EF4-FFF2-40B4-BE49-F238E27FC236}">
                <a16:creationId xmlns:a16="http://schemas.microsoft.com/office/drawing/2014/main" id="{509A5B4E-5227-616A-0A9A-949840D79A07}"/>
              </a:ext>
            </a:extLst>
          </p:cNvPr>
          <p:cNvSpPr txBox="1">
            <a:spLocks/>
          </p:cNvSpPr>
          <p:nvPr/>
        </p:nvSpPr>
        <p:spPr>
          <a:xfrm>
            <a:off x="6226175" y="1844787"/>
            <a:ext cx="5486399" cy="1762013"/>
          </a:xfrm>
          <a:prstGeom prst="rect">
            <a:avLst/>
          </a:prstGeom>
        </p:spPr>
        <p:txBody>
          <a:bodyPr vert="horz" lIns="0" tIns="0" rIns="0" bIns="0" rtlCol="0" anchor="t" anchorCtr="0">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365760" indent="-365760">
              <a:spcBef>
                <a:spcPts val="0"/>
              </a:spcBef>
              <a:spcAft>
                <a:spcPts val="1200"/>
              </a:spcAft>
            </a:pPr>
            <a:r>
              <a:rPr lang="en-IN" sz="1800" dirty="0"/>
              <a:t>More detailed instructions for how to make elective payment elections to claim certain tax credits on Form 990-T </a:t>
            </a:r>
          </a:p>
          <a:p>
            <a:pPr marL="365760" indent="-365760">
              <a:spcBef>
                <a:spcPts val="0"/>
              </a:spcBef>
              <a:spcAft>
                <a:spcPts val="1200"/>
              </a:spcAft>
            </a:pPr>
            <a:r>
              <a:rPr lang="en-IN" sz="1800" dirty="0"/>
              <a:t>Minimum penalty for late filing increased to $510</a:t>
            </a:r>
          </a:p>
          <a:p>
            <a:pPr marL="365760" indent="-365760">
              <a:spcBef>
                <a:spcPts val="0"/>
              </a:spcBef>
              <a:spcAft>
                <a:spcPts val="1200"/>
              </a:spcAft>
            </a:pPr>
            <a:r>
              <a:rPr lang="en-IN" sz="1800" dirty="0"/>
              <a:t>Limited substantive changes to Form 990-T and instructions for 2024</a:t>
            </a:r>
          </a:p>
        </p:txBody>
      </p:sp>
      <p:sp>
        <p:nvSpPr>
          <p:cNvPr id="8" name="Content Placeholder 2">
            <a:extLst>
              <a:ext uri="{FF2B5EF4-FFF2-40B4-BE49-F238E27FC236}">
                <a16:creationId xmlns:a16="http://schemas.microsoft.com/office/drawing/2014/main" id="{1BF122E5-BF81-50E5-3A94-5B1028997BBD}"/>
              </a:ext>
            </a:extLst>
          </p:cNvPr>
          <p:cNvSpPr txBox="1">
            <a:spLocks/>
          </p:cNvSpPr>
          <p:nvPr/>
        </p:nvSpPr>
        <p:spPr>
          <a:xfrm>
            <a:off x="6226174" y="1426965"/>
            <a:ext cx="5486400" cy="441268"/>
          </a:xfrm>
          <a:prstGeom prst="rect">
            <a:avLst/>
          </a:prstGeom>
        </p:spPr>
        <p:txBody>
          <a:bodyPr lIns="0" tIns="0" rIns="0" bIns="0"/>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spcAft>
                <a:spcPts val="1199"/>
              </a:spcAft>
              <a:buFont typeface="Wingdings" pitchFamily="2" charset="2"/>
              <a:buNone/>
            </a:pPr>
            <a:r>
              <a:rPr lang="en-IN" sz="1800" b="1" dirty="0">
                <a:solidFill>
                  <a:schemeClr val="tx2"/>
                </a:solidFill>
              </a:rPr>
              <a:t>Form 990-T highlights:</a:t>
            </a:r>
          </a:p>
        </p:txBody>
      </p:sp>
      <p:pic>
        <p:nvPicPr>
          <p:cNvPr id="13" name="Picture 12" descr="A person putting coins into a jar&#10;&#10;AI-generated content may be incorrect.">
            <a:extLst>
              <a:ext uri="{FF2B5EF4-FFF2-40B4-BE49-F238E27FC236}">
                <a16:creationId xmlns:a16="http://schemas.microsoft.com/office/drawing/2014/main" id="{DEFA21AA-3CDE-D62C-DD07-1519D7724954}"/>
              </a:ext>
            </a:extLst>
          </p:cNvPr>
          <p:cNvPicPr>
            <a:picLocks noChangeAspect="1"/>
          </p:cNvPicPr>
          <p:nvPr/>
        </p:nvPicPr>
        <p:blipFill>
          <a:blip r:embed="rId7"/>
          <a:srcRect t="6447" b="21186"/>
          <a:stretch/>
        </p:blipFill>
        <p:spPr>
          <a:xfrm>
            <a:off x="479425" y="3644901"/>
            <a:ext cx="5586524" cy="2463800"/>
          </a:xfrm>
          <a:prstGeom prst="rect">
            <a:avLst/>
          </a:prstGeom>
        </p:spPr>
      </p:pic>
    </p:spTree>
    <p:extLst>
      <p:ext uri="{BB962C8B-B14F-4D97-AF65-F5344CB8AC3E}">
        <p14:creationId xmlns:p14="http://schemas.microsoft.com/office/powerpoint/2010/main" val="3526899425"/>
      </p:ext>
    </p:extLst>
  </p:cSld>
  <p:clrMapOvr>
    <a:overrideClrMapping bg1="lt1" tx1="dk1" bg2="lt2" tx2="dk2" accent1="accent1" accent2="accent2" accent3="accent3" accent4="accent4" accent5="accent5" accent6="accent6" hlink="hlink" folHlink="folHlink"/>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0B4569F-B795-7024-5656-4F9C4AA1C16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8C14D82-E32A-3DA0-FF0E-3CF88A78D089}"/>
              </a:ext>
            </a:extLst>
          </p:cNvPr>
          <p:cNvSpPr>
            <a:spLocks noGrp="1"/>
          </p:cNvSpPr>
          <p:nvPr>
            <p:ph type="title"/>
          </p:nvPr>
        </p:nvSpPr>
        <p:spPr>
          <a:xfrm>
            <a:off x="485775" y="1970406"/>
            <a:ext cx="7394575" cy="2869882"/>
          </a:xfrm>
        </p:spPr>
        <p:txBody>
          <a:bodyPr/>
          <a:lstStyle/>
          <a:p>
            <a:r>
              <a:rPr lang="en-IN" dirty="0"/>
              <a:t>Schedule H and community benefit reporting considerations</a:t>
            </a:r>
          </a:p>
        </p:txBody>
      </p:sp>
    </p:spTree>
    <p:extLst>
      <p:ext uri="{BB962C8B-B14F-4D97-AF65-F5344CB8AC3E}">
        <p14:creationId xmlns:p14="http://schemas.microsoft.com/office/powerpoint/2010/main" val="8427502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AA1C82A-78A4-306E-6F4D-F311046743A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80CF6A-3A2E-A563-C368-73B350A5A0C9}"/>
              </a:ext>
            </a:extLst>
          </p:cNvPr>
          <p:cNvGraphicFramePr>
            <a:graphicFrameLocks noChangeAspect="1"/>
          </p:cNvGraphicFramePr>
          <p:nvPr>
            <p:custDataLst>
              <p:tags r:id="rId2"/>
            </p:custDataLst>
            <p:extLst>
              <p:ext uri="{D42A27DB-BD31-4B8C-83A1-F6EECF244321}">
                <p14:modId xmlns:p14="http://schemas.microsoft.com/office/powerpoint/2010/main" val="254256279"/>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7080CF6A-3A2E-A563-C368-73B350A5A0C9}"/>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82C84CA-760A-875E-68AA-A09C41A4C75A}"/>
              </a:ext>
            </a:extLst>
          </p:cNvPr>
          <p:cNvSpPr>
            <a:spLocks noGrp="1"/>
          </p:cNvSpPr>
          <p:nvPr>
            <p:ph type="title"/>
          </p:nvPr>
        </p:nvSpPr>
        <p:spPr>
          <a:xfrm>
            <a:off x="488949" y="346075"/>
            <a:ext cx="11223625" cy="469900"/>
          </a:xfrm>
        </p:spPr>
        <p:txBody>
          <a:bodyPr vert="horz"/>
          <a:lstStyle/>
          <a:p>
            <a:r>
              <a:rPr lang="en-IN" dirty="0"/>
              <a:t>IRS Form 990, Schedule H: What is it?</a:t>
            </a:r>
            <a:endParaRPr lang="en-US" dirty="0"/>
          </a:p>
        </p:txBody>
      </p:sp>
      <p:sp>
        <p:nvSpPr>
          <p:cNvPr id="3" name="Content Placeholder 2">
            <a:extLst>
              <a:ext uri="{FF2B5EF4-FFF2-40B4-BE49-F238E27FC236}">
                <a16:creationId xmlns:a16="http://schemas.microsoft.com/office/drawing/2014/main" id="{89EE1FF6-EEE1-9793-B868-34D4C1AF94FC}"/>
              </a:ext>
            </a:extLst>
          </p:cNvPr>
          <p:cNvSpPr>
            <a:spLocks noGrp="1"/>
          </p:cNvSpPr>
          <p:nvPr>
            <p:ph type="body" sz="quarter" idx="4294967295"/>
          </p:nvPr>
        </p:nvSpPr>
        <p:spPr>
          <a:xfrm>
            <a:off x="479424" y="1424026"/>
            <a:ext cx="5486399" cy="2713076"/>
          </a:xfrm>
        </p:spPr>
        <p:txBody>
          <a:bodyPr/>
          <a:lstStyle/>
          <a:p>
            <a:pPr marL="365760" indent="-365760">
              <a:spcBef>
                <a:spcPts val="0"/>
              </a:spcBef>
              <a:spcAft>
                <a:spcPts val="1200"/>
              </a:spcAft>
            </a:pPr>
            <a:r>
              <a:rPr lang="en-IN" sz="1800" dirty="0"/>
              <a:t>Public charity status and Schedule H</a:t>
            </a:r>
          </a:p>
          <a:p>
            <a:pPr marL="365760" indent="-365760">
              <a:spcBef>
                <a:spcPts val="0"/>
              </a:spcBef>
              <a:spcAft>
                <a:spcPts val="1200"/>
              </a:spcAft>
            </a:pPr>
            <a:r>
              <a:rPr lang="en-IN" sz="1800" dirty="0"/>
              <a:t>More than just financial reporting </a:t>
            </a:r>
          </a:p>
          <a:p>
            <a:pPr marL="365760" indent="-365760">
              <a:spcBef>
                <a:spcPts val="0"/>
              </a:spcBef>
              <a:spcAft>
                <a:spcPts val="1200"/>
              </a:spcAft>
            </a:pPr>
            <a:r>
              <a:rPr lang="en-IN" sz="1800" dirty="0"/>
              <a:t>What is needed to complete </a:t>
            </a:r>
          </a:p>
          <a:p>
            <a:pPr marL="365760" indent="-365760">
              <a:spcBef>
                <a:spcPts val="0"/>
              </a:spcBef>
              <a:spcAft>
                <a:spcPts val="1200"/>
              </a:spcAft>
            </a:pPr>
            <a:r>
              <a:rPr lang="en-IN" sz="1800" dirty="0"/>
              <a:t>Interplay with IRC Section 501(r) requirements</a:t>
            </a:r>
          </a:p>
          <a:p>
            <a:pPr marL="365760" indent="-365760">
              <a:spcBef>
                <a:spcPts val="0"/>
              </a:spcBef>
              <a:spcAft>
                <a:spcPts val="1200"/>
              </a:spcAft>
            </a:pPr>
            <a:r>
              <a:rPr lang="en-US" sz="1800" dirty="0"/>
              <a:t>Community health needs assessment (</a:t>
            </a:r>
            <a:r>
              <a:rPr lang="en-US" sz="1800" dirty="0" err="1"/>
              <a:t>CHNA</a:t>
            </a:r>
            <a:r>
              <a:rPr lang="en-US" sz="1800" dirty="0"/>
              <a:t>)</a:t>
            </a:r>
            <a:r>
              <a:rPr lang="en-IN" sz="1800" dirty="0"/>
              <a:t> may not be changed, but details in your responses may!</a:t>
            </a:r>
          </a:p>
          <a:p>
            <a:pPr marL="365760" indent="-365760">
              <a:spcBef>
                <a:spcPts val="0"/>
              </a:spcBef>
              <a:spcAft>
                <a:spcPts val="1200"/>
              </a:spcAft>
            </a:pPr>
            <a:r>
              <a:rPr lang="en-IN" sz="1800" dirty="0"/>
              <a:t>Consider the audience </a:t>
            </a:r>
          </a:p>
        </p:txBody>
      </p:sp>
      <p:pic>
        <p:nvPicPr>
          <p:cNvPr id="7" name="Picture 6">
            <a:extLst>
              <a:ext uri="{FF2B5EF4-FFF2-40B4-BE49-F238E27FC236}">
                <a16:creationId xmlns:a16="http://schemas.microsoft.com/office/drawing/2014/main" id="{F4E5FADA-3C03-5F0C-F795-5F9AFEA84C2A}"/>
              </a:ext>
            </a:extLst>
          </p:cNvPr>
          <p:cNvPicPr>
            <a:picLocks noChangeAspect="1"/>
          </p:cNvPicPr>
          <p:nvPr/>
        </p:nvPicPr>
        <p:blipFill>
          <a:blip r:embed="rId7"/>
          <a:srcRect l="17818" r="17818"/>
          <a:stretch/>
        </p:blipFill>
        <p:spPr>
          <a:xfrm>
            <a:off x="6353069" y="1411287"/>
            <a:ext cx="5356800" cy="4681538"/>
          </a:xfrm>
          <a:prstGeom prst="rect">
            <a:avLst/>
          </a:prstGeom>
          <a:noFill/>
        </p:spPr>
      </p:pic>
    </p:spTree>
    <p:extLst>
      <p:ext uri="{BB962C8B-B14F-4D97-AF65-F5344CB8AC3E}">
        <p14:creationId xmlns:p14="http://schemas.microsoft.com/office/powerpoint/2010/main" val="2364312386"/>
      </p:ext>
    </p:extLst>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F88C41F0-CBC4-6FE5-C8A3-373C7982E80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10CAA31-1BE1-712C-4DA3-09C2DF6EC85C}"/>
              </a:ext>
            </a:extLst>
          </p:cNvPr>
          <p:cNvGraphicFramePr>
            <a:graphicFrameLocks noChangeAspect="1"/>
          </p:cNvGraphicFramePr>
          <p:nvPr>
            <p:custDataLst>
              <p:tags r:id="rId2"/>
            </p:custDataLst>
            <p:extLst>
              <p:ext uri="{D42A27DB-BD31-4B8C-83A1-F6EECF244321}">
                <p14:modId xmlns:p14="http://schemas.microsoft.com/office/powerpoint/2010/main" val="518132514"/>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F10CAA31-1BE1-712C-4DA3-09C2DF6EC85C}"/>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D5A77F3-60B4-518D-7AEA-3366CA965A76}"/>
              </a:ext>
            </a:extLst>
          </p:cNvPr>
          <p:cNvSpPr>
            <a:spLocks noGrp="1"/>
          </p:cNvSpPr>
          <p:nvPr>
            <p:ph type="title"/>
          </p:nvPr>
        </p:nvSpPr>
        <p:spPr>
          <a:xfrm>
            <a:off x="488949" y="346075"/>
            <a:ext cx="11223625" cy="469900"/>
          </a:xfrm>
        </p:spPr>
        <p:txBody>
          <a:bodyPr vert="horz"/>
          <a:lstStyle/>
          <a:p>
            <a:r>
              <a:rPr lang="en-IN" dirty="0"/>
              <a:t>What is “community benefit”?</a:t>
            </a:r>
            <a:endParaRPr lang="en-US" dirty="0"/>
          </a:p>
        </p:txBody>
      </p:sp>
      <p:sp>
        <p:nvSpPr>
          <p:cNvPr id="3" name="Content Placeholder 2">
            <a:extLst>
              <a:ext uri="{FF2B5EF4-FFF2-40B4-BE49-F238E27FC236}">
                <a16:creationId xmlns:a16="http://schemas.microsoft.com/office/drawing/2014/main" id="{245BE8B0-BF65-2539-1E0B-80B0CE590CD2}"/>
              </a:ext>
            </a:extLst>
          </p:cNvPr>
          <p:cNvSpPr>
            <a:spLocks noGrp="1"/>
          </p:cNvSpPr>
          <p:nvPr>
            <p:ph type="body" sz="quarter" idx="4294967295"/>
          </p:nvPr>
        </p:nvSpPr>
        <p:spPr>
          <a:xfrm>
            <a:off x="479424" y="1424025"/>
            <a:ext cx="11233151" cy="4668799"/>
          </a:xfrm>
        </p:spPr>
        <p:txBody>
          <a:bodyPr/>
          <a:lstStyle/>
          <a:p>
            <a:pPr marL="365760" indent="-365760">
              <a:spcBef>
                <a:spcPts val="0"/>
              </a:spcBef>
            </a:pPr>
            <a:r>
              <a:rPr lang="en-IN" sz="1800" dirty="0"/>
              <a:t>Community benefit is not a synonym for charity care</a:t>
            </a:r>
          </a:p>
          <a:p>
            <a:pPr marL="365760" indent="-365760">
              <a:spcBef>
                <a:spcPts val="0"/>
              </a:spcBef>
            </a:pPr>
            <a:r>
              <a:rPr lang="en-IN" sz="1800" dirty="0"/>
              <a:t>Types of community benefit reportable on Schedule H:</a:t>
            </a:r>
          </a:p>
          <a:p>
            <a:pPr marL="731520" indent="-365760">
              <a:spcBef>
                <a:spcPts val="0"/>
              </a:spcBef>
            </a:pPr>
            <a:r>
              <a:rPr lang="en-IN" sz="1800" dirty="0"/>
              <a:t>Financial assistance (at cost):</a:t>
            </a:r>
          </a:p>
          <a:p>
            <a:pPr marL="1097280" indent="-365760">
              <a:spcBef>
                <a:spcPts val="0"/>
              </a:spcBef>
            </a:pPr>
            <a:r>
              <a:rPr lang="en-IN" sz="1800" dirty="0"/>
              <a:t>If a patient meets the financial assistance policy (FAP) eligibility criteria and cannot afford to pay for some or all of bill for care, for instance, COVID-19-related treatment</a:t>
            </a:r>
          </a:p>
          <a:p>
            <a:pPr marL="731520" indent="-365760">
              <a:spcBef>
                <a:spcPts val="0"/>
              </a:spcBef>
            </a:pPr>
            <a:r>
              <a:rPr lang="en-IN" sz="1800" dirty="0"/>
              <a:t>Medicaid </a:t>
            </a:r>
          </a:p>
          <a:p>
            <a:pPr marL="731520" indent="-365760">
              <a:spcBef>
                <a:spcPts val="0"/>
              </a:spcBef>
            </a:pPr>
            <a:r>
              <a:rPr lang="en-IN" sz="1800" dirty="0"/>
              <a:t>Other means-tested government programs</a:t>
            </a:r>
          </a:p>
          <a:p>
            <a:pPr marL="731520" indent="-365760">
              <a:spcBef>
                <a:spcPts val="0"/>
              </a:spcBef>
            </a:pPr>
            <a:r>
              <a:rPr lang="en-IN" sz="1800" dirty="0"/>
              <a:t>Community health improvement services</a:t>
            </a:r>
          </a:p>
          <a:p>
            <a:pPr marL="731520" indent="-365760">
              <a:spcBef>
                <a:spcPts val="0"/>
              </a:spcBef>
            </a:pPr>
            <a:r>
              <a:rPr lang="en-IN" sz="1800" dirty="0"/>
              <a:t>Subsidized health services</a:t>
            </a:r>
          </a:p>
          <a:p>
            <a:pPr marL="731520" indent="-365760">
              <a:spcBef>
                <a:spcPts val="0"/>
              </a:spcBef>
            </a:pPr>
            <a:r>
              <a:rPr lang="en-IN" sz="1800" dirty="0"/>
              <a:t>Research:</a:t>
            </a:r>
          </a:p>
          <a:p>
            <a:pPr marL="1097280" indent="-365760">
              <a:spcBef>
                <a:spcPts val="0"/>
              </a:spcBef>
            </a:pPr>
            <a:r>
              <a:rPr lang="en-IN" sz="1800" dirty="0"/>
              <a:t>Any study or investigation the goal of which is to generate increased generalizable knowledge made available to the public</a:t>
            </a:r>
          </a:p>
          <a:p>
            <a:pPr marL="731520" indent="-365760">
              <a:spcBef>
                <a:spcPts val="0"/>
              </a:spcBef>
            </a:pPr>
            <a:r>
              <a:rPr lang="en-IN" sz="1800" dirty="0"/>
              <a:t>Health professions education</a:t>
            </a:r>
          </a:p>
          <a:p>
            <a:pPr marL="731520" indent="-365760">
              <a:spcBef>
                <a:spcPts val="0"/>
              </a:spcBef>
            </a:pPr>
            <a:r>
              <a:rPr lang="en-IN" sz="1800" dirty="0"/>
              <a:t>Cash and in-kind contributions for community benefit:</a:t>
            </a:r>
          </a:p>
          <a:p>
            <a:pPr marL="1097280" indent="-365760">
              <a:spcBef>
                <a:spcPts val="0"/>
              </a:spcBef>
            </a:pPr>
            <a:r>
              <a:rPr lang="en-IN" sz="1800" dirty="0"/>
              <a:t>Grants restricted, in writing, for community benefit</a:t>
            </a:r>
          </a:p>
        </p:txBody>
      </p:sp>
    </p:spTree>
    <p:extLst>
      <p:ext uri="{BB962C8B-B14F-4D97-AF65-F5344CB8AC3E}">
        <p14:creationId xmlns:p14="http://schemas.microsoft.com/office/powerpoint/2010/main" val="3275133537"/>
      </p:ext>
    </p:extLst>
  </p:cSld>
  <p:clrMapOvr>
    <a:overrideClrMapping bg1="lt1" tx1="dk1" bg2="lt2" tx2="dk2" accent1="accent1" accent2="accent2" accent3="accent3" accent4="accent4" accent5="accent5" accent6="accent6" hlink="hlink" folHlink="folHlink"/>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6BFF6146-2FFB-61A3-E731-D265CF91687B}"/>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E34F6C6-09BE-53DC-1B6B-479D24B63BCB}"/>
              </a:ext>
            </a:extLst>
          </p:cNvPr>
          <p:cNvGraphicFramePr>
            <a:graphicFrameLocks noChangeAspect="1"/>
          </p:cNvGraphicFramePr>
          <p:nvPr>
            <p:custDataLst>
              <p:tags r:id="rId2"/>
            </p:custDataLst>
            <p:extLst>
              <p:ext uri="{D42A27DB-BD31-4B8C-83A1-F6EECF244321}">
                <p14:modId xmlns:p14="http://schemas.microsoft.com/office/powerpoint/2010/main" val="3987446594"/>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3E34F6C6-09BE-53DC-1B6B-479D24B63BCB}"/>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7F51ADF-3D95-79C2-3FD4-46FDA4F5DEA4}"/>
              </a:ext>
            </a:extLst>
          </p:cNvPr>
          <p:cNvSpPr>
            <a:spLocks noGrp="1"/>
          </p:cNvSpPr>
          <p:nvPr>
            <p:ph type="title"/>
          </p:nvPr>
        </p:nvSpPr>
        <p:spPr>
          <a:xfrm>
            <a:off x="488949" y="346075"/>
            <a:ext cx="11223625" cy="469900"/>
          </a:xfrm>
        </p:spPr>
        <p:txBody>
          <a:bodyPr vert="horz"/>
          <a:lstStyle/>
          <a:p>
            <a:r>
              <a:rPr lang="en-IN" dirty="0"/>
              <a:t>Federal community benefit requirements</a:t>
            </a:r>
            <a:endParaRPr lang="en-US" dirty="0"/>
          </a:p>
        </p:txBody>
      </p:sp>
      <p:sp>
        <p:nvSpPr>
          <p:cNvPr id="3" name="Content Placeholder 2">
            <a:extLst>
              <a:ext uri="{FF2B5EF4-FFF2-40B4-BE49-F238E27FC236}">
                <a16:creationId xmlns:a16="http://schemas.microsoft.com/office/drawing/2014/main" id="{3BD38F37-6E39-F218-7D0A-CFCD8C4C566C}"/>
              </a:ext>
            </a:extLst>
          </p:cNvPr>
          <p:cNvSpPr>
            <a:spLocks noGrp="1"/>
          </p:cNvSpPr>
          <p:nvPr>
            <p:ph type="body" sz="quarter" idx="4294967295"/>
          </p:nvPr>
        </p:nvSpPr>
        <p:spPr>
          <a:xfrm>
            <a:off x="479424" y="1424025"/>
            <a:ext cx="11233151" cy="4668799"/>
          </a:xfrm>
        </p:spPr>
        <p:txBody>
          <a:bodyPr/>
          <a:lstStyle/>
          <a:p>
            <a:pPr marL="365760" indent="-365760">
              <a:spcBef>
                <a:spcPts val="0"/>
              </a:spcBef>
            </a:pPr>
            <a:r>
              <a:rPr lang="en-IN" sz="1800" dirty="0"/>
              <a:t>To qualify as exempt from federal income tax, hospitals in the US need to meet the community benefit standard established by the Internal Revenue Service (IRS):</a:t>
            </a:r>
          </a:p>
          <a:p>
            <a:pPr marL="731520" indent="-365760">
              <a:spcBef>
                <a:spcPts val="0"/>
              </a:spcBef>
            </a:pPr>
            <a:r>
              <a:rPr lang="en-IN" sz="1800" dirty="0"/>
              <a:t>Facts and circumstances are considered to determine whether a hospital meets the test.</a:t>
            </a:r>
          </a:p>
          <a:p>
            <a:pPr marL="731520" indent="-365760">
              <a:spcBef>
                <a:spcPts val="0"/>
              </a:spcBef>
            </a:pPr>
            <a:r>
              <a:rPr lang="en-IN" sz="1800" dirty="0"/>
              <a:t>While there are no IRS requirements regarding how much community benefit must be provided, this is an area of focus for Congress, states and others.</a:t>
            </a:r>
          </a:p>
          <a:p>
            <a:pPr marL="365760" indent="-365760">
              <a:spcBef>
                <a:spcPts val="0"/>
              </a:spcBef>
            </a:pPr>
            <a:r>
              <a:rPr lang="en-IN" sz="1800" dirty="0"/>
              <a:t>Community benefit is regulated by Congress, IRS and state regulators:</a:t>
            </a:r>
          </a:p>
          <a:p>
            <a:pPr marL="731520" indent="-365760">
              <a:spcBef>
                <a:spcPts val="0"/>
              </a:spcBef>
            </a:pPr>
            <a:r>
              <a:rPr lang="en-IN" sz="1800" dirty="0"/>
              <a:t>Many states impose community benefit requirements in addition to IRS community benefit standard and IRC Section 501(r).</a:t>
            </a:r>
          </a:p>
          <a:p>
            <a:pPr marL="365760" indent="-365760">
              <a:spcBef>
                <a:spcPts val="0"/>
              </a:spcBef>
            </a:pPr>
            <a:r>
              <a:rPr lang="en-IN" sz="1800" dirty="0"/>
              <a:t>Tax-exempt hospitals also need to comply with IRC Section 501(r), established by Congress in the Affordable Care Act (ACA).</a:t>
            </a:r>
          </a:p>
          <a:p>
            <a:pPr marL="365760" indent="-365760">
              <a:spcBef>
                <a:spcPts val="0"/>
              </a:spcBef>
            </a:pPr>
            <a:r>
              <a:rPr lang="en-IN" sz="1800" dirty="0"/>
              <a:t>Tax-exempt hospitals must demonstrate their compliance with the community benefit standard and IRC Section 501(r) by annually filing Form 990, Schedule H with the IRS:</a:t>
            </a:r>
          </a:p>
          <a:p>
            <a:pPr marL="731520" indent="-365760">
              <a:spcBef>
                <a:spcPts val="0"/>
              </a:spcBef>
            </a:pPr>
            <a:r>
              <a:rPr lang="en-IN" sz="1800" dirty="0"/>
              <a:t>Must also check Part I, box 3 (IRC Section 170(b)(1)(A)(iii)) on Form 990 Schedule A</a:t>
            </a:r>
          </a:p>
          <a:p>
            <a:pPr marL="365760" indent="-365760">
              <a:spcBef>
                <a:spcPts val="0"/>
              </a:spcBef>
            </a:pPr>
            <a:r>
              <a:rPr lang="en-IN" sz="1800" dirty="0"/>
              <a:t>Remember: Form 990, including Schedule H, is a publicly available document:</a:t>
            </a:r>
          </a:p>
          <a:p>
            <a:pPr marL="731520" indent="-365760">
              <a:spcBef>
                <a:spcPts val="0"/>
              </a:spcBef>
            </a:pPr>
            <a:r>
              <a:rPr lang="en-IN" sz="1800" dirty="0"/>
              <a:t>Tax Exempt Organization Search (</a:t>
            </a:r>
            <a:r>
              <a:rPr lang="en-US" sz="1800" dirty="0">
                <a:effectLst/>
                <a:latin typeface="Segoe UI"/>
              </a:rPr>
              <a:t>https://apps.irs.gov/app/eos/</a:t>
            </a:r>
            <a:r>
              <a:rPr lang="en-IN" sz="1800" dirty="0"/>
              <a:t>) </a:t>
            </a:r>
          </a:p>
          <a:p>
            <a:pPr marL="365760" indent="-365760">
              <a:spcBef>
                <a:spcPts val="0"/>
              </a:spcBef>
            </a:pPr>
            <a:endParaRPr lang="en-IN" sz="1800" dirty="0"/>
          </a:p>
        </p:txBody>
      </p:sp>
    </p:spTree>
    <p:extLst>
      <p:ext uri="{BB962C8B-B14F-4D97-AF65-F5344CB8AC3E}">
        <p14:creationId xmlns:p14="http://schemas.microsoft.com/office/powerpoint/2010/main" val="1282023132"/>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A09D57-F15D-D505-0232-21F524A7AEE3}"/>
              </a:ext>
            </a:extLst>
          </p:cNvPr>
          <p:cNvSpPr>
            <a:spLocks noGrp="1"/>
          </p:cNvSpPr>
          <p:nvPr>
            <p:ph type="title"/>
          </p:nvPr>
        </p:nvSpPr>
        <p:spPr>
          <a:xfrm>
            <a:off x="485523" y="345396"/>
            <a:ext cx="11224347" cy="470898"/>
          </a:xfrm>
        </p:spPr>
        <p:txBody>
          <a:bodyPr/>
          <a:lstStyle/>
          <a:p>
            <a:r>
              <a:rPr lang="en-IN" dirty="0"/>
              <a:t>Presenters</a:t>
            </a:r>
          </a:p>
        </p:txBody>
      </p:sp>
      <p:grpSp>
        <p:nvGrpSpPr>
          <p:cNvPr id="15" name="Group 14">
            <a:extLst>
              <a:ext uri="{FF2B5EF4-FFF2-40B4-BE49-F238E27FC236}">
                <a16:creationId xmlns:a16="http://schemas.microsoft.com/office/drawing/2014/main" id="{51A96C18-BE4A-C0F8-2E4F-CF5FB71E6F70}"/>
              </a:ext>
            </a:extLst>
          </p:cNvPr>
          <p:cNvGrpSpPr/>
          <p:nvPr/>
        </p:nvGrpSpPr>
        <p:grpSpPr>
          <a:xfrm>
            <a:off x="488480" y="1709738"/>
            <a:ext cx="11224095" cy="4086225"/>
            <a:chOff x="488480" y="1679575"/>
            <a:chExt cx="11224095" cy="4086225"/>
          </a:xfrm>
        </p:grpSpPr>
        <p:pic>
          <p:nvPicPr>
            <p:cNvPr id="3" name="Picture 2" descr="A person smiling at camera&#10;&#10;Description automatically generated">
              <a:extLst>
                <a:ext uri="{FF2B5EF4-FFF2-40B4-BE49-F238E27FC236}">
                  <a16:creationId xmlns:a16="http://schemas.microsoft.com/office/drawing/2014/main" id="{4C1C08E5-3998-87D7-9B4E-BBBE22FACEC0}"/>
                </a:ext>
              </a:extLst>
            </p:cNvPr>
            <p:cNvPicPr>
              <a:picLocks/>
            </p:cNvPicPr>
            <p:nvPr/>
          </p:nvPicPr>
          <p:blipFill>
            <a:blip r:embed="rId2" cstate="screen">
              <a:extLst>
                <a:ext uri="{28A0092B-C50C-407E-A947-70E740481C1C}">
                  <a14:useLocalDpi xmlns:a14="http://schemas.microsoft.com/office/drawing/2010/main"/>
                </a:ext>
              </a:extLst>
            </a:blip>
            <a:srcRect/>
            <a:stretch/>
          </p:blipFill>
          <p:spPr>
            <a:xfrm>
              <a:off x="3724220" y="1771015"/>
              <a:ext cx="1828800" cy="1828800"/>
            </a:xfrm>
            <a:prstGeom prst="ellipse">
              <a:avLst/>
            </a:prstGeom>
            <a:ln w="63500" cap="rnd">
              <a:noFill/>
            </a:ln>
            <a:effectLst/>
          </p:spPr>
        </p:pic>
        <p:sp>
          <p:nvSpPr>
            <p:cNvPr id="4" name="TextBox 3">
              <a:extLst>
                <a:ext uri="{FF2B5EF4-FFF2-40B4-BE49-F238E27FC236}">
                  <a16:creationId xmlns:a16="http://schemas.microsoft.com/office/drawing/2014/main" id="{A018A7A8-AC2D-0A91-0070-40012E8A1A4F}"/>
                </a:ext>
              </a:extLst>
            </p:cNvPr>
            <p:cNvSpPr txBox="1"/>
            <p:nvPr/>
          </p:nvSpPr>
          <p:spPr>
            <a:xfrm>
              <a:off x="488480" y="3899764"/>
              <a:ext cx="2468880" cy="1866036"/>
            </a:xfrm>
            <a:prstGeom prst="rect">
              <a:avLst/>
            </a:prstGeom>
            <a:noFill/>
            <a:ln w="6350" cap="flat" cmpd="sng" algn="ctr">
              <a:solidFill>
                <a:srgbClr val="747480"/>
              </a:solidFill>
              <a:prstDash val="dash"/>
              <a:round/>
              <a:headEnd type="none" w="med" len="med"/>
              <a:tailEnd type="none" w="med" len="med"/>
            </a:ln>
          </p:spPr>
          <p:txBody>
            <a:bodyPr wrap="square" lIns="91440" tIns="91440" rIns="91440" bIns="91440" rtlCol="0" anchor="t">
              <a:noAutofit/>
            </a:bodyPr>
            <a:lstStyle/>
            <a:p>
              <a:pPr marR="0" lvl="0" algn="ctr" fontAlgn="auto">
                <a:spcAft>
                  <a:spcPts val="600"/>
                </a:spcAft>
                <a:buClr>
                  <a:srgbClr val="27ACAA"/>
                </a:buClr>
                <a:buSzPct val="70000"/>
                <a:tabLst/>
                <a:defRPr/>
              </a:pPr>
              <a:r>
                <a:rPr lang="en-US" sz="2000" b="1" dirty="0">
                  <a:solidFill>
                    <a:srgbClr val="FFE600"/>
                  </a:solidFill>
                </a:rPr>
                <a:t>Stephen Clarke</a:t>
              </a:r>
            </a:p>
            <a:p>
              <a:pPr marL="0" marR="0" lvl="0" indent="0" algn="ctr" defTabSz="914400" rtl="0" eaLnBrk="1" fontAlgn="auto" latinLnBrk="0" hangingPunct="1">
                <a:spcAft>
                  <a:spcPts val="600"/>
                </a:spcAft>
                <a:buClr>
                  <a:srgbClr val="27ACAA"/>
                </a:buClr>
                <a:buSzPct val="70000"/>
                <a:buFontTx/>
                <a:buNone/>
                <a:tabLst/>
                <a:defRPr/>
              </a:pPr>
              <a:r>
                <a:rPr kumimoji="0" lang="en-US" sz="1600" b="0" i="0" u="none" strike="noStrike" kern="1200" cap="none" spc="0" normalizeH="0" baseline="0" noProof="0" dirty="0">
                  <a:ln>
                    <a:noFill/>
                  </a:ln>
                  <a:solidFill>
                    <a:srgbClr val="FFFFFF"/>
                  </a:solidFill>
                  <a:effectLst/>
                  <a:uLnTx/>
                  <a:uFillTx/>
                  <a:ea typeface="+mn-ea"/>
                  <a:cs typeface="+mn-cs"/>
                </a:rPr>
                <a:t>Managing Director</a:t>
              </a:r>
              <a:br>
                <a:rPr kumimoji="0" lang="en-US" sz="1600" b="0" i="0" u="none" strike="noStrike" kern="1200" cap="none" spc="0" normalizeH="0" baseline="0" noProof="0" dirty="0">
                  <a:ln>
                    <a:noFill/>
                  </a:ln>
                  <a:solidFill>
                    <a:srgbClr val="FFFFFF"/>
                  </a:solidFill>
                  <a:effectLst/>
                  <a:uLnTx/>
                  <a:uFillTx/>
                  <a:ea typeface="+mn-ea"/>
                  <a:cs typeface="+mn-cs"/>
                </a:rPr>
              </a:br>
              <a:r>
                <a:rPr lang="en-US" sz="1600" dirty="0">
                  <a:solidFill>
                    <a:srgbClr val="FFFFFF"/>
                  </a:solidFill>
                </a:rPr>
                <a:t>Washington, DC</a:t>
              </a:r>
            </a:p>
            <a:p>
              <a:pPr algn="ctr">
                <a:spcAft>
                  <a:spcPts val="600"/>
                </a:spcAft>
                <a:buClr>
                  <a:srgbClr val="27ACAA"/>
                </a:buClr>
                <a:buSzPct val="70000"/>
                <a:defRPr/>
              </a:pPr>
              <a:r>
                <a:rPr lang="en-US" sz="1200" dirty="0">
                  <a:solidFill>
                    <a:srgbClr val="FFFFFF"/>
                  </a:solidFill>
                </a:rPr>
                <a:t>Exempt Organization Tax Services</a:t>
              </a:r>
            </a:p>
            <a:p>
              <a:pPr marL="0" marR="0" lvl="0" indent="0" algn="ctr" defTabSz="914400" rtl="0" eaLnBrk="1" fontAlgn="auto" latinLnBrk="0" hangingPunct="1">
                <a:spcAft>
                  <a:spcPts val="600"/>
                </a:spcAft>
                <a:buClr>
                  <a:srgbClr val="FFE600"/>
                </a:buClr>
                <a:buSzPct val="100000"/>
                <a:buFontTx/>
                <a:buNone/>
                <a:tabLst/>
                <a:defRPr/>
              </a:pPr>
              <a:r>
                <a:rPr kumimoji="0" lang="en-US" sz="1200" b="0" i="0" u="none" strike="noStrike" kern="1200" cap="none" spc="0" normalizeH="0" baseline="0" noProof="0" dirty="0">
                  <a:ln>
                    <a:noFill/>
                  </a:ln>
                  <a:solidFill>
                    <a:srgbClr val="FFFFFF"/>
                  </a:solidFill>
                  <a:effectLst/>
                  <a:uLnTx/>
                  <a:uFillTx/>
                  <a:ea typeface="+mn-ea"/>
                  <a:cs typeface="+mn-cs"/>
                </a:rPr>
                <a:t>Ernst &amp; Young LLP</a:t>
              </a:r>
            </a:p>
          </p:txBody>
        </p:sp>
        <p:sp>
          <p:nvSpPr>
            <p:cNvPr id="5" name="TextBox 4">
              <a:extLst>
                <a:ext uri="{FF2B5EF4-FFF2-40B4-BE49-F238E27FC236}">
                  <a16:creationId xmlns:a16="http://schemas.microsoft.com/office/drawing/2014/main" id="{8AB8026D-CAB5-9536-FC6C-DEF045AC4564}"/>
                </a:ext>
              </a:extLst>
            </p:cNvPr>
            <p:cNvSpPr txBox="1"/>
            <p:nvPr/>
          </p:nvSpPr>
          <p:spPr>
            <a:xfrm>
              <a:off x="3406885" y="3899764"/>
              <a:ext cx="2468880" cy="1866036"/>
            </a:xfrm>
            <a:prstGeom prst="rect">
              <a:avLst/>
            </a:prstGeom>
            <a:noFill/>
            <a:ln w="6350" cap="flat" cmpd="sng" algn="ctr">
              <a:solidFill>
                <a:srgbClr val="747480"/>
              </a:solidFill>
              <a:prstDash val="dash"/>
              <a:round/>
              <a:headEnd type="none" w="med" len="med"/>
              <a:tailEnd type="none" w="med" len="med"/>
            </a:ln>
          </p:spPr>
          <p:txBody>
            <a:bodyPr wrap="square" lIns="91440" tIns="91440" rIns="91440" bIns="91440" rtlCol="0" anchor="t">
              <a:noAutofit/>
            </a:bodyPr>
            <a:lstStyle/>
            <a:p>
              <a:pPr indent="0" algn="ctr">
                <a:spcAft>
                  <a:spcPts val="600"/>
                </a:spcAft>
                <a:buClr>
                  <a:srgbClr val="27ACAA"/>
                </a:buClr>
                <a:buSzPct val="70000"/>
                <a:buFontTx/>
                <a:buNone/>
                <a:defRPr/>
              </a:pPr>
              <a:r>
                <a:rPr lang="en-US" sz="2000" b="1" dirty="0">
                  <a:solidFill>
                    <a:srgbClr val="FFE600"/>
                  </a:solidFill>
                </a:rPr>
                <a:t>Lauren Bennett</a:t>
              </a:r>
            </a:p>
            <a:p>
              <a:pPr marL="0" marR="0" lvl="0" indent="0" algn="ctr" defTabSz="914400" rtl="0" eaLnBrk="1" fontAlgn="auto" latinLnBrk="0" hangingPunct="1">
                <a:spcAft>
                  <a:spcPts val="600"/>
                </a:spcAft>
                <a:buClr>
                  <a:srgbClr val="FFE600"/>
                </a:buClr>
                <a:buSzPct val="100000"/>
                <a:buFontTx/>
                <a:buNone/>
                <a:tabLst/>
                <a:defRPr/>
              </a:pPr>
              <a:r>
                <a:rPr kumimoji="0" lang="en-US" sz="1600" b="0" i="0" u="none" strike="noStrike" kern="1200" cap="none" spc="0" normalizeH="0" baseline="0" noProof="0" dirty="0">
                  <a:ln>
                    <a:noFill/>
                  </a:ln>
                  <a:solidFill>
                    <a:srgbClr val="FFFFFF"/>
                  </a:solidFill>
                  <a:effectLst/>
                  <a:uLnTx/>
                  <a:uFillTx/>
                  <a:ea typeface="+mn-ea"/>
                  <a:cs typeface="+mn-cs"/>
                </a:rPr>
                <a:t>Senior Manager</a:t>
              </a:r>
              <a:br>
                <a:rPr kumimoji="0" lang="en-US" sz="1600" b="0" i="0" u="none" strike="noStrike" kern="1200" cap="none" spc="0" normalizeH="0" baseline="0" noProof="0" dirty="0">
                  <a:ln>
                    <a:noFill/>
                  </a:ln>
                  <a:solidFill>
                    <a:srgbClr val="FFFFFF"/>
                  </a:solidFill>
                  <a:effectLst/>
                  <a:uLnTx/>
                  <a:uFillTx/>
                  <a:ea typeface="+mn-ea"/>
                  <a:cs typeface="+mn-cs"/>
                </a:rPr>
              </a:br>
              <a:r>
                <a:rPr kumimoji="0" lang="en-US" sz="1600" b="0" i="0" u="none" strike="noStrike" kern="1200" cap="none" spc="0" normalizeH="0" baseline="0" noProof="0" dirty="0">
                  <a:ln>
                    <a:noFill/>
                  </a:ln>
                  <a:solidFill>
                    <a:srgbClr val="FFFFFF"/>
                  </a:solidFill>
                  <a:effectLst/>
                  <a:uLnTx/>
                  <a:uFillTx/>
                  <a:ea typeface="+mn-ea"/>
                  <a:cs typeface="+mn-cs"/>
                </a:rPr>
                <a:t>Philadelphia, PA</a:t>
              </a:r>
            </a:p>
            <a:p>
              <a:pPr algn="ctr">
                <a:spcAft>
                  <a:spcPts val="600"/>
                </a:spcAft>
                <a:buClr>
                  <a:srgbClr val="FFE600"/>
                </a:buClr>
                <a:buSzPct val="100000"/>
                <a:defRPr/>
              </a:pPr>
              <a:r>
                <a:rPr lang="en-US" sz="1200" dirty="0">
                  <a:solidFill>
                    <a:srgbClr val="FFFFFF"/>
                  </a:solidFill>
                </a:rPr>
                <a:t>Exempt Organization Tax Services</a:t>
              </a:r>
            </a:p>
            <a:p>
              <a:pPr marL="0" marR="0" lvl="0" indent="0" algn="ctr" defTabSz="914400" rtl="0" eaLnBrk="1" fontAlgn="auto" latinLnBrk="0" hangingPunct="1">
                <a:spcAft>
                  <a:spcPts val="600"/>
                </a:spcAft>
                <a:buClr>
                  <a:srgbClr val="FFE600"/>
                </a:buClr>
                <a:buSzPct val="100000"/>
                <a:buFontTx/>
                <a:buNone/>
                <a:tabLst/>
                <a:defRPr/>
              </a:pPr>
              <a:r>
                <a:rPr kumimoji="0" lang="en-US" sz="1200" b="0" i="0" u="none" strike="noStrike" kern="1200" cap="none" spc="0" normalizeH="0" baseline="0" noProof="0" dirty="0">
                  <a:ln>
                    <a:noFill/>
                  </a:ln>
                  <a:solidFill>
                    <a:srgbClr val="FFFFFF"/>
                  </a:solidFill>
                  <a:effectLst/>
                  <a:uLnTx/>
                  <a:uFillTx/>
                  <a:ea typeface="+mn-ea"/>
                  <a:cs typeface="+mn-cs"/>
                </a:rPr>
                <a:t>Ernst &amp; Young LLP</a:t>
              </a:r>
            </a:p>
          </p:txBody>
        </p:sp>
        <p:sp>
          <p:nvSpPr>
            <p:cNvPr id="6" name="TextBox 5">
              <a:extLst>
                <a:ext uri="{FF2B5EF4-FFF2-40B4-BE49-F238E27FC236}">
                  <a16:creationId xmlns:a16="http://schemas.microsoft.com/office/drawing/2014/main" id="{28B4AB38-C993-0C8D-BAF1-A917FF8F20A3}"/>
                </a:ext>
              </a:extLst>
            </p:cNvPr>
            <p:cNvSpPr txBox="1"/>
            <p:nvPr/>
          </p:nvSpPr>
          <p:spPr>
            <a:xfrm>
              <a:off x="6325290" y="3899764"/>
              <a:ext cx="2468880" cy="1866036"/>
            </a:xfrm>
            <a:prstGeom prst="rect">
              <a:avLst/>
            </a:prstGeom>
            <a:noFill/>
            <a:ln w="6350" cap="flat" cmpd="sng" algn="ctr">
              <a:solidFill>
                <a:srgbClr val="747480"/>
              </a:solidFill>
              <a:prstDash val="dash"/>
              <a:round/>
              <a:headEnd type="none" w="med" len="med"/>
              <a:tailEnd type="none" w="med" len="med"/>
            </a:ln>
          </p:spPr>
          <p:txBody>
            <a:bodyPr wrap="square" lIns="91440" tIns="91440" rIns="91440" bIns="91440" rtlCol="0" anchor="t">
              <a:noAutofit/>
            </a:bodyPr>
            <a:lstStyle/>
            <a:p>
              <a:pPr indent="0" algn="ctr">
                <a:spcAft>
                  <a:spcPts val="600"/>
                </a:spcAft>
                <a:buClr>
                  <a:srgbClr val="27ACAA"/>
                </a:buClr>
                <a:buSzPct val="70000"/>
                <a:buFontTx/>
                <a:buNone/>
                <a:defRPr/>
              </a:pPr>
              <a:r>
                <a:rPr lang="en-US" sz="2000" b="1" dirty="0">
                  <a:solidFill>
                    <a:srgbClr val="FFE600"/>
                  </a:solidFill>
                </a:rPr>
                <a:t>George Pagano</a:t>
              </a:r>
            </a:p>
            <a:p>
              <a:pPr marL="0" marR="0" lvl="0" indent="0" algn="ctr" defTabSz="914400" rtl="0" eaLnBrk="1" fontAlgn="auto" latinLnBrk="0" hangingPunct="1">
                <a:spcAft>
                  <a:spcPts val="600"/>
                </a:spcAft>
                <a:buClr>
                  <a:srgbClr val="FFE600"/>
                </a:buClr>
                <a:buSzPct val="100000"/>
                <a:buFontTx/>
                <a:buNone/>
                <a:tabLst/>
                <a:defRPr/>
              </a:pPr>
              <a:r>
                <a:rPr kumimoji="0" lang="en-US" sz="1600" b="0" i="0" u="none" strike="noStrike" kern="1200" cap="none" spc="0" normalizeH="0" baseline="0" noProof="0" dirty="0">
                  <a:ln>
                    <a:noFill/>
                  </a:ln>
                  <a:solidFill>
                    <a:srgbClr val="FFFFFF"/>
                  </a:solidFill>
                  <a:effectLst/>
                  <a:uLnTx/>
                  <a:uFillTx/>
                  <a:ea typeface="+mn-ea"/>
                  <a:cs typeface="+mn-cs"/>
                </a:rPr>
                <a:t>Manager</a:t>
              </a:r>
              <a:br>
                <a:rPr kumimoji="0" lang="en-US" sz="1600" b="0" i="0" u="none" strike="noStrike" kern="1200" cap="none" spc="0" normalizeH="0" baseline="0" noProof="0" dirty="0">
                  <a:ln>
                    <a:noFill/>
                  </a:ln>
                  <a:solidFill>
                    <a:srgbClr val="FFFFFF"/>
                  </a:solidFill>
                  <a:effectLst/>
                  <a:uLnTx/>
                  <a:uFillTx/>
                  <a:ea typeface="+mn-ea"/>
                  <a:cs typeface="+mn-cs"/>
                </a:rPr>
              </a:br>
              <a:r>
                <a:rPr lang="en-US" sz="1600" dirty="0">
                  <a:solidFill>
                    <a:srgbClr val="FFFFFF"/>
                  </a:solidFill>
                </a:rPr>
                <a:t>Boston, MA</a:t>
              </a:r>
            </a:p>
            <a:p>
              <a:pPr algn="ctr">
                <a:spcAft>
                  <a:spcPts val="600"/>
                </a:spcAft>
                <a:buClr>
                  <a:srgbClr val="FFE600"/>
                </a:buClr>
                <a:buSzPct val="100000"/>
                <a:defRPr/>
              </a:pPr>
              <a:r>
                <a:rPr lang="en-US" sz="1200" dirty="0">
                  <a:solidFill>
                    <a:srgbClr val="FFFFFF"/>
                  </a:solidFill>
                </a:rPr>
                <a:t>Exempt Organization Tax Services</a:t>
              </a:r>
            </a:p>
            <a:p>
              <a:pPr marL="0" marR="0" lvl="0" indent="0" algn="ctr" defTabSz="914400" rtl="0" eaLnBrk="1" fontAlgn="auto" latinLnBrk="0" hangingPunct="1">
                <a:spcAft>
                  <a:spcPts val="600"/>
                </a:spcAft>
                <a:buClr>
                  <a:srgbClr val="FFE600"/>
                </a:buClr>
                <a:buSzPct val="100000"/>
                <a:buFontTx/>
                <a:buNone/>
                <a:tabLst/>
                <a:defRPr/>
              </a:pPr>
              <a:r>
                <a:rPr kumimoji="0" lang="en-US" sz="1200" b="0" i="0" u="none" strike="noStrike" kern="1200" cap="none" spc="0" normalizeH="0" baseline="0" noProof="0" dirty="0">
                  <a:ln>
                    <a:noFill/>
                  </a:ln>
                  <a:solidFill>
                    <a:srgbClr val="FFFFFF"/>
                  </a:solidFill>
                  <a:effectLst/>
                  <a:uLnTx/>
                  <a:uFillTx/>
                  <a:ea typeface="+mn-ea"/>
                  <a:cs typeface="+mn-cs"/>
                </a:rPr>
                <a:t>Ernst &amp; Young LLP</a:t>
              </a:r>
            </a:p>
          </p:txBody>
        </p:sp>
        <p:sp>
          <p:nvSpPr>
            <p:cNvPr id="7" name="TextBox 6">
              <a:extLst>
                <a:ext uri="{FF2B5EF4-FFF2-40B4-BE49-F238E27FC236}">
                  <a16:creationId xmlns:a16="http://schemas.microsoft.com/office/drawing/2014/main" id="{462986A0-CB30-1321-1F79-18101021D8DA}"/>
                </a:ext>
              </a:extLst>
            </p:cNvPr>
            <p:cNvSpPr txBox="1"/>
            <p:nvPr/>
          </p:nvSpPr>
          <p:spPr>
            <a:xfrm>
              <a:off x="9243695" y="3899764"/>
              <a:ext cx="2468880" cy="1866036"/>
            </a:xfrm>
            <a:prstGeom prst="rect">
              <a:avLst/>
            </a:prstGeom>
            <a:noFill/>
            <a:ln w="6350" cap="flat" cmpd="sng" algn="ctr">
              <a:solidFill>
                <a:srgbClr val="747480"/>
              </a:solidFill>
              <a:prstDash val="dash"/>
              <a:round/>
              <a:headEnd type="none" w="med" len="med"/>
              <a:tailEnd type="none" w="med" len="med"/>
            </a:ln>
          </p:spPr>
          <p:txBody>
            <a:bodyPr wrap="square" lIns="91440" tIns="91440" rIns="91440" bIns="91440" rtlCol="0" anchor="t">
              <a:noAutofit/>
            </a:bodyPr>
            <a:lstStyle/>
            <a:p>
              <a:pPr indent="0" algn="ctr">
                <a:spcAft>
                  <a:spcPts val="600"/>
                </a:spcAft>
                <a:buClr>
                  <a:srgbClr val="27ACAA"/>
                </a:buClr>
                <a:buSzPct val="70000"/>
                <a:buFontTx/>
                <a:buNone/>
                <a:defRPr/>
              </a:pPr>
              <a:r>
                <a:rPr lang="en-US" sz="2000" b="1" dirty="0">
                  <a:solidFill>
                    <a:srgbClr val="FFE600"/>
                  </a:solidFill>
                </a:rPr>
                <a:t>Emma Walsh</a:t>
              </a:r>
            </a:p>
            <a:p>
              <a:pPr marL="0" marR="0" lvl="0" indent="0" algn="ctr" defTabSz="914400" rtl="0" eaLnBrk="1" fontAlgn="auto" latinLnBrk="0" hangingPunct="1">
                <a:spcAft>
                  <a:spcPts val="600"/>
                </a:spcAft>
                <a:buClr>
                  <a:srgbClr val="FFE600"/>
                </a:buClr>
                <a:buSzPct val="100000"/>
                <a:buFontTx/>
                <a:buNone/>
                <a:tabLst/>
                <a:defRPr/>
              </a:pPr>
              <a:r>
                <a:rPr kumimoji="0" lang="en-US" sz="1600" b="0" i="0" u="none" strike="noStrike" kern="1200" cap="none" spc="0" normalizeH="0" baseline="0" noProof="0" dirty="0">
                  <a:ln>
                    <a:noFill/>
                  </a:ln>
                  <a:solidFill>
                    <a:srgbClr val="FFFFFF"/>
                  </a:solidFill>
                  <a:effectLst/>
                  <a:uLnTx/>
                  <a:uFillTx/>
                  <a:ea typeface="+mn-ea"/>
                  <a:cs typeface="+mn-cs"/>
                </a:rPr>
                <a:t>Senior</a:t>
              </a:r>
              <a:br>
                <a:rPr kumimoji="0" lang="en-US" sz="1600" b="0" i="0" u="none" strike="noStrike" kern="1200" cap="none" spc="0" normalizeH="0" baseline="0" noProof="0" dirty="0">
                  <a:ln>
                    <a:noFill/>
                  </a:ln>
                  <a:solidFill>
                    <a:srgbClr val="FFFFFF"/>
                  </a:solidFill>
                  <a:effectLst/>
                  <a:uLnTx/>
                  <a:uFillTx/>
                  <a:ea typeface="+mn-ea"/>
                  <a:cs typeface="+mn-cs"/>
                </a:rPr>
              </a:br>
              <a:r>
                <a:rPr lang="en-US" sz="1600" dirty="0">
                  <a:solidFill>
                    <a:srgbClr val="FFFFFF"/>
                  </a:solidFill>
                </a:rPr>
                <a:t>Boston, MA</a:t>
              </a:r>
            </a:p>
            <a:p>
              <a:pPr algn="ctr">
                <a:spcAft>
                  <a:spcPts val="600"/>
                </a:spcAft>
                <a:buClr>
                  <a:srgbClr val="FFE600"/>
                </a:buClr>
                <a:buSzPct val="100000"/>
                <a:defRPr/>
              </a:pPr>
              <a:r>
                <a:rPr lang="en-US" sz="1200" dirty="0">
                  <a:solidFill>
                    <a:srgbClr val="FFFFFF"/>
                  </a:solidFill>
                </a:rPr>
                <a:t>Exempt Organization Tax Services</a:t>
              </a:r>
            </a:p>
            <a:p>
              <a:pPr marL="0" marR="0" lvl="0" indent="0" algn="ctr" defTabSz="914400" rtl="0" eaLnBrk="1" fontAlgn="auto" latinLnBrk="0" hangingPunct="1">
                <a:spcAft>
                  <a:spcPts val="600"/>
                </a:spcAft>
                <a:buClr>
                  <a:srgbClr val="FFE600"/>
                </a:buClr>
                <a:buSzPct val="100000"/>
                <a:buFontTx/>
                <a:buNone/>
                <a:tabLst/>
                <a:defRPr/>
              </a:pPr>
              <a:r>
                <a:rPr kumimoji="0" lang="en-US" sz="1200" b="0" i="0" u="none" strike="noStrike" kern="1200" cap="none" spc="0" normalizeH="0" baseline="0" noProof="0" dirty="0">
                  <a:ln>
                    <a:noFill/>
                  </a:ln>
                  <a:solidFill>
                    <a:srgbClr val="FFFFFF"/>
                  </a:solidFill>
                  <a:effectLst/>
                  <a:uLnTx/>
                  <a:uFillTx/>
                  <a:ea typeface="+mn-ea"/>
                  <a:cs typeface="+mn-cs"/>
                </a:rPr>
                <a:t>Ernst &amp; Young LLP</a:t>
              </a:r>
            </a:p>
          </p:txBody>
        </p:sp>
        <p:pic>
          <p:nvPicPr>
            <p:cNvPr id="8" name="Picture 4">
              <a:extLst>
                <a:ext uri="{FF2B5EF4-FFF2-40B4-BE49-F238E27FC236}">
                  <a16:creationId xmlns:a16="http://schemas.microsoft.com/office/drawing/2014/main" id="{505D4083-6ED5-A376-67EE-F5823E466B85}"/>
                </a:ext>
              </a:extLst>
            </p:cNvPr>
            <p:cNvPicPr>
              <a:picLocks noChangeArrowheads="1"/>
            </p:cNvPicPr>
            <p:nvPr/>
          </p:nvPicPr>
          <p:blipFill>
            <a:blip r:embed="rId3">
              <a:extLst>
                <a:ext uri="{96DAC541-7B7A-43D3-8B79-37D633B846F1}">
                  <asvg:svgBlip xmlns:asvg="http://schemas.microsoft.com/office/drawing/2016/SVG/main" r:embed="rId4"/>
                </a:ext>
              </a:extLst>
            </a:blip>
            <a:srcRect/>
            <a:stretch/>
          </p:blipFill>
          <p:spPr bwMode="auto">
            <a:xfrm>
              <a:off x="9561030" y="1771015"/>
              <a:ext cx="1828800" cy="1828800"/>
            </a:xfrm>
            <a:prstGeom prst="ellipse">
              <a:avLst/>
            </a:prstGeom>
            <a:ln w="63500" cap="rnd">
              <a:noFill/>
            </a:ln>
            <a:effectLst/>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4CD4A982-6DEE-63DD-F40B-BB87C2D689E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6642625" y="1771015"/>
              <a:ext cx="1828800" cy="1828800"/>
            </a:xfrm>
            <a:prstGeom prst="ellipse">
              <a:avLst/>
            </a:prstGeom>
            <a:ln w="63500" cap="rnd">
              <a:noFill/>
            </a:ln>
            <a:effectLst/>
          </p:spPr>
        </p:pic>
        <p:pic>
          <p:nvPicPr>
            <p:cNvPr id="10" name="Picture 9">
              <a:extLst>
                <a:ext uri="{FF2B5EF4-FFF2-40B4-BE49-F238E27FC236}">
                  <a16:creationId xmlns:a16="http://schemas.microsoft.com/office/drawing/2014/main" id="{3824466A-23F0-30F7-1F48-C0AAAA210CF3}"/>
                </a:ext>
              </a:extLst>
            </p:cNvPr>
            <p:cNvPicPr>
              <a:picLocks/>
            </p:cNvPicPr>
            <p:nvPr/>
          </p:nvPicPr>
          <p:blipFill>
            <a:blip r:embed="rId6" cstate="screen">
              <a:extLst>
                <a:ext uri="{28A0092B-C50C-407E-A947-70E740481C1C}">
                  <a14:useLocalDpi xmlns:a14="http://schemas.microsoft.com/office/drawing/2010/main"/>
                </a:ext>
              </a:extLst>
            </a:blip>
            <a:stretch>
              <a:fillRect/>
            </a:stretch>
          </p:blipFill>
          <p:spPr>
            <a:xfrm>
              <a:off x="805815" y="1771015"/>
              <a:ext cx="1828800" cy="1828800"/>
            </a:xfrm>
            <a:prstGeom prst="ellipse">
              <a:avLst/>
            </a:prstGeom>
            <a:ln w="63500" cap="rnd">
              <a:noFill/>
            </a:ln>
            <a:effectLst/>
          </p:spPr>
        </p:pic>
        <p:sp>
          <p:nvSpPr>
            <p:cNvPr id="11" name="Oval 10">
              <a:extLst>
                <a:ext uri="{FF2B5EF4-FFF2-40B4-BE49-F238E27FC236}">
                  <a16:creationId xmlns:a16="http://schemas.microsoft.com/office/drawing/2014/main" id="{E9E64FA6-57A2-4887-4786-734E5CAAA7CF}"/>
                </a:ext>
              </a:extLst>
            </p:cNvPr>
            <p:cNvSpPr>
              <a:spLocks noChangeAspect="1"/>
            </p:cNvSpPr>
            <p:nvPr/>
          </p:nvSpPr>
          <p:spPr>
            <a:xfrm>
              <a:off x="717080" y="1679575"/>
              <a:ext cx="2011680" cy="2011680"/>
            </a:xfrm>
            <a:prstGeom prst="ellipse">
              <a:avLst/>
            </a:prstGeom>
            <a:noFill/>
            <a:ln w="12700" cap="flat" cmpd="sng" algn="ctr">
              <a:solidFill>
                <a:srgbClr val="74748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IN" sz="2000" dirty="0" err="1">
                <a:solidFill>
                  <a:schemeClr val="tx1"/>
                </a:solidFill>
              </a:endParaRPr>
            </a:p>
          </p:txBody>
        </p:sp>
        <p:sp>
          <p:nvSpPr>
            <p:cNvPr id="12" name="Oval 11">
              <a:extLst>
                <a:ext uri="{FF2B5EF4-FFF2-40B4-BE49-F238E27FC236}">
                  <a16:creationId xmlns:a16="http://schemas.microsoft.com/office/drawing/2014/main" id="{7060D07F-0482-1559-8199-BA020D990908}"/>
                </a:ext>
              </a:extLst>
            </p:cNvPr>
            <p:cNvSpPr>
              <a:spLocks noChangeAspect="1"/>
            </p:cNvSpPr>
            <p:nvPr/>
          </p:nvSpPr>
          <p:spPr>
            <a:xfrm>
              <a:off x="3635485" y="1679575"/>
              <a:ext cx="2011680" cy="2011680"/>
            </a:xfrm>
            <a:prstGeom prst="ellipse">
              <a:avLst/>
            </a:prstGeom>
            <a:noFill/>
            <a:ln w="12700" cap="flat" cmpd="sng" algn="ctr">
              <a:solidFill>
                <a:srgbClr val="74748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IN" sz="2000" dirty="0" err="1">
                <a:solidFill>
                  <a:schemeClr val="tx1"/>
                </a:solidFill>
              </a:endParaRPr>
            </a:p>
          </p:txBody>
        </p:sp>
        <p:sp>
          <p:nvSpPr>
            <p:cNvPr id="13" name="Oval 12">
              <a:extLst>
                <a:ext uri="{FF2B5EF4-FFF2-40B4-BE49-F238E27FC236}">
                  <a16:creationId xmlns:a16="http://schemas.microsoft.com/office/drawing/2014/main" id="{AA875C2E-4778-DB0C-CDD5-E3A002D27AF5}"/>
                </a:ext>
              </a:extLst>
            </p:cNvPr>
            <p:cNvSpPr>
              <a:spLocks noChangeAspect="1"/>
            </p:cNvSpPr>
            <p:nvPr/>
          </p:nvSpPr>
          <p:spPr>
            <a:xfrm>
              <a:off x="6553890" y="1679575"/>
              <a:ext cx="2011680" cy="2011680"/>
            </a:xfrm>
            <a:prstGeom prst="ellipse">
              <a:avLst/>
            </a:prstGeom>
            <a:noFill/>
            <a:ln w="12700" cap="flat" cmpd="sng" algn="ctr">
              <a:solidFill>
                <a:srgbClr val="74748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IN" sz="2000" dirty="0" err="1">
                <a:solidFill>
                  <a:schemeClr val="tx1"/>
                </a:solidFill>
              </a:endParaRPr>
            </a:p>
          </p:txBody>
        </p:sp>
        <p:sp>
          <p:nvSpPr>
            <p:cNvPr id="14" name="Oval 13">
              <a:extLst>
                <a:ext uri="{FF2B5EF4-FFF2-40B4-BE49-F238E27FC236}">
                  <a16:creationId xmlns:a16="http://schemas.microsoft.com/office/drawing/2014/main" id="{ED535489-CF18-948F-FB7E-B0FF6158F1F1}"/>
                </a:ext>
              </a:extLst>
            </p:cNvPr>
            <p:cNvSpPr>
              <a:spLocks noChangeAspect="1"/>
            </p:cNvSpPr>
            <p:nvPr/>
          </p:nvSpPr>
          <p:spPr>
            <a:xfrm>
              <a:off x="9472295" y="1679575"/>
              <a:ext cx="2011680" cy="2011680"/>
            </a:xfrm>
            <a:prstGeom prst="ellipse">
              <a:avLst/>
            </a:prstGeom>
            <a:noFill/>
            <a:ln w="12700" cap="flat" cmpd="sng" algn="ctr">
              <a:solidFill>
                <a:srgbClr val="747480"/>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t" anchorCtr="0"/>
            <a:lstStyle/>
            <a:p>
              <a:pPr marL="252000" indent="-252000" algn="l">
                <a:lnSpc>
                  <a:spcPct val="90000"/>
                </a:lnSpc>
                <a:spcBef>
                  <a:spcPts val="400"/>
                </a:spcBef>
                <a:spcAft>
                  <a:spcPts val="400"/>
                </a:spcAft>
                <a:buClr>
                  <a:schemeClr val="tx2"/>
                </a:buClr>
                <a:buFont typeface="Wingdings" pitchFamily="2" charset="2"/>
                <a:buChar char="§"/>
              </a:pPr>
              <a:endParaRPr lang="en-IN" sz="2000" dirty="0" err="1">
                <a:solidFill>
                  <a:schemeClr val="tx1"/>
                </a:solidFill>
              </a:endParaRPr>
            </a:p>
          </p:txBody>
        </p:sp>
      </p:grpSp>
    </p:spTree>
    <p:extLst>
      <p:ext uri="{BB962C8B-B14F-4D97-AF65-F5344CB8AC3E}">
        <p14:creationId xmlns:p14="http://schemas.microsoft.com/office/powerpoint/2010/main" val="402808896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318AFD-C825-D838-1D8F-08EBD4BC3C34}"/>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C278CF5E-C27F-4559-5354-DCB51100AE48}"/>
              </a:ext>
            </a:extLst>
          </p:cNvPr>
          <p:cNvSpPr>
            <a:spLocks noGrp="1"/>
          </p:cNvSpPr>
          <p:nvPr>
            <p:ph type="title"/>
          </p:nvPr>
        </p:nvSpPr>
        <p:spPr>
          <a:xfrm>
            <a:off x="485523" y="345396"/>
            <a:ext cx="11224347" cy="470898"/>
          </a:xfrm>
        </p:spPr>
        <p:txBody>
          <a:bodyPr/>
          <a:lstStyle/>
          <a:p>
            <a:r>
              <a:rPr lang="en-IN" dirty="0"/>
              <a:t>Polling question 5</a:t>
            </a:r>
          </a:p>
        </p:txBody>
      </p:sp>
      <p:sp>
        <p:nvSpPr>
          <p:cNvPr id="6" name="Content Placeholder 7">
            <a:extLst>
              <a:ext uri="{FF2B5EF4-FFF2-40B4-BE49-F238E27FC236}">
                <a16:creationId xmlns:a16="http://schemas.microsoft.com/office/drawing/2014/main" id="{F3AC09FB-639E-30F4-7BF3-C098F58D145F}"/>
              </a:ext>
            </a:extLst>
          </p:cNvPr>
          <p:cNvSpPr txBox="1">
            <a:spLocks/>
          </p:cNvSpPr>
          <p:nvPr/>
        </p:nvSpPr>
        <p:spPr>
          <a:xfrm>
            <a:off x="487775" y="2442898"/>
            <a:ext cx="11224800" cy="2142745"/>
          </a:xfrm>
          <a:prstGeom prst="rect">
            <a:avLst/>
          </a:prstGeom>
        </p:spPr>
        <p:txBody>
          <a:bodyPr lIns="0" tIns="0" rIns="0" bIns="0"/>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457200" lvl="1" indent="-457200">
              <a:spcBef>
                <a:spcPts val="0"/>
              </a:spcBef>
              <a:spcAft>
                <a:spcPts val="1200"/>
              </a:spcAft>
              <a:buFont typeface="+mj-lt"/>
              <a:buAutoNum type="alphaLcPeriod"/>
            </a:pPr>
            <a:r>
              <a:rPr lang="en-IN" sz="2000" dirty="0">
                <a:solidFill>
                  <a:schemeClr val="lt1"/>
                </a:solidFill>
              </a:rPr>
              <a:t>Schedule A, checking box for IRC Section 170(b)(1)(A)(ii) public charity status </a:t>
            </a:r>
          </a:p>
          <a:p>
            <a:pPr marL="457200" lvl="1" indent="-457200">
              <a:spcBef>
                <a:spcPts val="0"/>
              </a:spcBef>
              <a:spcAft>
                <a:spcPts val="1200"/>
              </a:spcAft>
              <a:buFont typeface="+mj-lt"/>
              <a:buAutoNum type="alphaLcPeriod"/>
            </a:pPr>
            <a:r>
              <a:rPr lang="en-IN" sz="2000" dirty="0">
                <a:solidFill>
                  <a:schemeClr val="lt1"/>
                </a:solidFill>
              </a:rPr>
              <a:t>Schedule A, checking box for IRC Section 170(b)(1)(A)(iii) public charity status </a:t>
            </a:r>
          </a:p>
          <a:p>
            <a:pPr marL="457200" lvl="1" indent="-457200">
              <a:spcBef>
                <a:spcPts val="0"/>
              </a:spcBef>
              <a:spcAft>
                <a:spcPts val="1200"/>
              </a:spcAft>
              <a:buFont typeface="+mj-lt"/>
              <a:buAutoNum type="alphaLcPeriod"/>
            </a:pPr>
            <a:r>
              <a:rPr lang="en-IN" sz="2000" dirty="0">
                <a:solidFill>
                  <a:schemeClr val="lt1"/>
                </a:solidFill>
              </a:rPr>
              <a:t>Schedule H (all parts)</a:t>
            </a:r>
          </a:p>
          <a:p>
            <a:pPr marL="457200" lvl="1" indent="-457200">
              <a:spcBef>
                <a:spcPts val="0"/>
              </a:spcBef>
              <a:spcAft>
                <a:spcPts val="1200"/>
              </a:spcAft>
              <a:buFont typeface="+mj-lt"/>
              <a:buAutoNum type="alphaLcPeriod"/>
            </a:pPr>
            <a:r>
              <a:rPr lang="en-IN" sz="2000" dirty="0">
                <a:solidFill>
                  <a:schemeClr val="lt1"/>
                </a:solidFill>
              </a:rPr>
              <a:t>(a) and (c)</a:t>
            </a:r>
          </a:p>
          <a:p>
            <a:pPr marL="457200" lvl="1" indent="-457200">
              <a:spcBef>
                <a:spcPts val="0"/>
              </a:spcBef>
              <a:spcAft>
                <a:spcPts val="1200"/>
              </a:spcAft>
              <a:buFont typeface="+mj-lt"/>
              <a:buAutoNum type="alphaLcPeriod"/>
            </a:pPr>
            <a:r>
              <a:rPr lang="en-IN" sz="2000" dirty="0">
                <a:solidFill>
                  <a:schemeClr val="lt1"/>
                </a:solidFill>
              </a:rPr>
              <a:t>(b) and (c)</a:t>
            </a:r>
          </a:p>
        </p:txBody>
      </p:sp>
      <p:sp>
        <p:nvSpPr>
          <p:cNvPr id="7" name="Rectangle 6">
            <a:extLst>
              <a:ext uri="{FF2B5EF4-FFF2-40B4-BE49-F238E27FC236}">
                <a16:creationId xmlns:a16="http://schemas.microsoft.com/office/drawing/2014/main" id="{BC82FFE9-3B42-A108-E2DF-A69972ABA816}"/>
              </a:ext>
            </a:extLst>
          </p:cNvPr>
          <p:cNvSpPr>
            <a:spLocks/>
          </p:cNvSpPr>
          <p:nvPr/>
        </p:nvSpPr>
        <p:spPr>
          <a:xfrm>
            <a:off x="485523" y="1424450"/>
            <a:ext cx="11227052" cy="914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2E2E38"/>
                </a:solidFill>
              </a14:hiddenFill>
            </a:ext>
            <a:ext uri="{91240B29-F687-4F45-9708-019B960494DF}">
              <a14:hiddenLine xmlns:a14="http://schemas.microsoft.com/office/drawing/2010/main" w="12700" cap="flat" cmpd="sng" algn="ctr">
                <a:solidFill>
                  <a:srgbClr val="2E2E3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2400" b="1" dirty="0"/>
              <a:t>Tax-exempt hospital organizations should file which parts of Form 990 Schedules?</a:t>
            </a:r>
          </a:p>
        </p:txBody>
      </p:sp>
    </p:spTree>
    <p:extLst>
      <p:ext uri="{BB962C8B-B14F-4D97-AF65-F5344CB8AC3E}">
        <p14:creationId xmlns:p14="http://schemas.microsoft.com/office/powerpoint/2010/main" val="378265893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172EFC-A47B-5192-425F-FDDEFDA667E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6A7547F-2D77-DF05-9521-35DF0BC7E396}"/>
              </a:ext>
            </a:extLst>
          </p:cNvPr>
          <p:cNvSpPr>
            <a:spLocks noGrp="1"/>
          </p:cNvSpPr>
          <p:nvPr>
            <p:ph type="title"/>
          </p:nvPr>
        </p:nvSpPr>
        <p:spPr>
          <a:xfrm>
            <a:off x="485775" y="1970406"/>
            <a:ext cx="7394575" cy="2869882"/>
          </a:xfrm>
        </p:spPr>
        <p:txBody>
          <a:bodyPr/>
          <a:lstStyle/>
          <a:p>
            <a:r>
              <a:rPr lang="en-IN" dirty="0"/>
              <a:t>Increasing scrutiny of tax-exempt hospitals’ community benefit</a:t>
            </a:r>
          </a:p>
        </p:txBody>
      </p:sp>
    </p:spTree>
    <p:extLst>
      <p:ext uri="{BB962C8B-B14F-4D97-AF65-F5344CB8AC3E}">
        <p14:creationId xmlns:p14="http://schemas.microsoft.com/office/powerpoint/2010/main" val="234016088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D8CBA3A5-3D78-F070-F7D7-0F34753809C9}"/>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B8B136F-01C2-AD4C-9EDA-EA8811163365}"/>
              </a:ext>
            </a:extLst>
          </p:cNvPr>
          <p:cNvGraphicFramePr>
            <a:graphicFrameLocks noChangeAspect="1"/>
          </p:cNvGraphicFramePr>
          <p:nvPr>
            <p:custDataLst>
              <p:tags r:id="rId2"/>
            </p:custDataLst>
            <p:extLst>
              <p:ext uri="{D42A27DB-BD31-4B8C-83A1-F6EECF244321}">
                <p14:modId xmlns:p14="http://schemas.microsoft.com/office/powerpoint/2010/main" val="4131006174"/>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AB8B136F-01C2-AD4C-9EDA-EA8811163365}"/>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8984DBD-4DAB-FD50-2934-3977A11D25D9}"/>
              </a:ext>
            </a:extLst>
          </p:cNvPr>
          <p:cNvSpPr>
            <a:spLocks noGrp="1"/>
          </p:cNvSpPr>
          <p:nvPr>
            <p:ph type="title"/>
          </p:nvPr>
        </p:nvSpPr>
        <p:spPr>
          <a:xfrm>
            <a:off x="488949" y="346075"/>
            <a:ext cx="11223625" cy="469900"/>
          </a:xfrm>
        </p:spPr>
        <p:txBody>
          <a:bodyPr vert="horz"/>
          <a:lstStyle/>
          <a:p>
            <a:r>
              <a:rPr lang="en-IN" dirty="0"/>
              <a:t>Scrutiny of tax-exempt hospitals’ community benefit — why?</a:t>
            </a:r>
            <a:endParaRPr lang="en-US" dirty="0"/>
          </a:p>
        </p:txBody>
      </p:sp>
      <p:sp>
        <p:nvSpPr>
          <p:cNvPr id="3" name="Content Placeholder 2">
            <a:extLst>
              <a:ext uri="{FF2B5EF4-FFF2-40B4-BE49-F238E27FC236}">
                <a16:creationId xmlns:a16="http://schemas.microsoft.com/office/drawing/2014/main" id="{82BD14DD-5187-0AD5-FE1A-3AC0C5460104}"/>
              </a:ext>
            </a:extLst>
          </p:cNvPr>
          <p:cNvSpPr>
            <a:spLocks noGrp="1"/>
          </p:cNvSpPr>
          <p:nvPr>
            <p:ph type="body" sz="quarter" idx="4294967295"/>
          </p:nvPr>
        </p:nvSpPr>
        <p:spPr>
          <a:xfrm>
            <a:off x="479424" y="1424025"/>
            <a:ext cx="11233151" cy="4668799"/>
          </a:xfrm>
        </p:spPr>
        <p:txBody>
          <a:bodyPr/>
          <a:lstStyle/>
          <a:p>
            <a:pPr marL="365760" indent="-365760">
              <a:spcBef>
                <a:spcPts val="0"/>
              </a:spcBef>
              <a:spcAft>
                <a:spcPts val="600"/>
              </a:spcAft>
            </a:pPr>
            <a:r>
              <a:rPr lang="en-IN" sz="1800" dirty="0"/>
              <a:t>Critics are increasingly challenging the distinction between taxable and tax-exempt hospitals and health systems:</a:t>
            </a:r>
          </a:p>
          <a:p>
            <a:pPr marL="731520" indent="-365760">
              <a:spcBef>
                <a:spcPts val="0"/>
              </a:spcBef>
              <a:spcAft>
                <a:spcPts val="600"/>
              </a:spcAft>
            </a:pPr>
            <a:r>
              <a:rPr lang="en-IN" sz="1800" dirty="0"/>
              <a:t>Growth of public and private health insurance has led to decline in percentage of patients requiring free hospital care and growth of taxable hospitals.</a:t>
            </a:r>
          </a:p>
          <a:p>
            <a:pPr marL="365760" indent="-365760">
              <a:spcBef>
                <a:spcPts val="0"/>
              </a:spcBef>
              <a:spcAft>
                <a:spcPts val="600"/>
              </a:spcAft>
            </a:pPr>
            <a:r>
              <a:rPr lang="en-IN" sz="1800" dirty="0"/>
              <a:t>Federal, state and local governments are actively seeking new sources of revenues and re-evaluating “tax breaks.”</a:t>
            </a:r>
          </a:p>
          <a:p>
            <a:pPr marL="365760" indent="-365760">
              <a:spcBef>
                <a:spcPts val="0"/>
              </a:spcBef>
              <a:spcAft>
                <a:spcPts val="600"/>
              </a:spcAft>
            </a:pPr>
            <a:r>
              <a:rPr lang="en-IN" sz="1800" dirty="0"/>
              <a:t>Media, watchdog groups, researchers and Congress have questioned whether tax-exempt hospitals provide sufficient community benefit, particularly charity care, to justify their tax-exempt status.</a:t>
            </a:r>
          </a:p>
        </p:txBody>
      </p:sp>
    </p:spTree>
    <p:extLst>
      <p:ext uri="{BB962C8B-B14F-4D97-AF65-F5344CB8AC3E}">
        <p14:creationId xmlns:p14="http://schemas.microsoft.com/office/powerpoint/2010/main" val="1823729088"/>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C6BFB84-AB5B-D14A-89D7-3D13D5AE10DF}"/>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B981BE6-642A-D252-BB18-382CB1E9B90D}"/>
              </a:ext>
            </a:extLst>
          </p:cNvPr>
          <p:cNvGraphicFramePr>
            <a:graphicFrameLocks noChangeAspect="1"/>
          </p:cNvGraphicFramePr>
          <p:nvPr>
            <p:custDataLst>
              <p:tags r:id="rId2"/>
            </p:custDataLst>
            <p:extLst>
              <p:ext uri="{D42A27DB-BD31-4B8C-83A1-F6EECF244321}">
                <p14:modId xmlns:p14="http://schemas.microsoft.com/office/powerpoint/2010/main" val="3853452639"/>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FB981BE6-642A-D252-BB18-382CB1E9B90D}"/>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98050E5-3DB7-C5E7-23D3-6EDDB994EA33}"/>
              </a:ext>
            </a:extLst>
          </p:cNvPr>
          <p:cNvSpPr>
            <a:spLocks noGrp="1"/>
          </p:cNvSpPr>
          <p:nvPr>
            <p:ph type="title"/>
          </p:nvPr>
        </p:nvSpPr>
        <p:spPr>
          <a:xfrm>
            <a:off x="488949" y="346075"/>
            <a:ext cx="11223625" cy="469900"/>
          </a:xfrm>
        </p:spPr>
        <p:txBody>
          <a:bodyPr vert="horz"/>
          <a:lstStyle/>
          <a:p>
            <a:r>
              <a:rPr lang="en-IN" dirty="0"/>
              <a:t>Increased scrutiny of tax-exempt hospitals’ community benefit </a:t>
            </a:r>
            <a:endParaRPr lang="en-US" dirty="0"/>
          </a:p>
        </p:txBody>
      </p:sp>
      <p:sp>
        <p:nvSpPr>
          <p:cNvPr id="3" name="Content Placeholder 2">
            <a:extLst>
              <a:ext uri="{FF2B5EF4-FFF2-40B4-BE49-F238E27FC236}">
                <a16:creationId xmlns:a16="http://schemas.microsoft.com/office/drawing/2014/main" id="{564E2CA5-F9D5-0927-36FD-D983ACF57872}"/>
              </a:ext>
            </a:extLst>
          </p:cNvPr>
          <p:cNvSpPr>
            <a:spLocks noGrp="1"/>
          </p:cNvSpPr>
          <p:nvPr>
            <p:ph type="body" sz="quarter" idx="4294967295"/>
          </p:nvPr>
        </p:nvSpPr>
        <p:spPr>
          <a:xfrm>
            <a:off x="479424" y="1424025"/>
            <a:ext cx="11233151" cy="4668799"/>
          </a:xfrm>
        </p:spPr>
        <p:txBody>
          <a:bodyPr/>
          <a:lstStyle/>
          <a:p>
            <a:pPr marL="365760" indent="-365760">
              <a:spcBef>
                <a:spcPts val="0"/>
              </a:spcBef>
              <a:spcAft>
                <a:spcPts val="600"/>
              </a:spcAft>
            </a:pPr>
            <a:r>
              <a:rPr lang="en-IN" sz="1800" dirty="0"/>
              <a:t>Johns Hopkins University Bloomberg School of Public Health study, “Comparing the value of community benefit and Tax-Exemption in non-profit hospitals” (2018)</a:t>
            </a:r>
          </a:p>
          <a:p>
            <a:pPr marL="365760" indent="-365760">
              <a:spcBef>
                <a:spcPts val="0"/>
              </a:spcBef>
              <a:spcAft>
                <a:spcPts val="600"/>
              </a:spcAft>
            </a:pPr>
            <a:r>
              <a:rPr lang="en-IN" sz="1800" dirty="0"/>
              <a:t>Senator Grassley’s letters to IRS and tax-exempt hospitals</a:t>
            </a:r>
          </a:p>
          <a:p>
            <a:pPr marL="365760" indent="-365760">
              <a:spcBef>
                <a:spcPts val="0"/>
              </a:spcBef>
              <a:spcAft>
                <a:spcPts val="600"/>
              </a:spcAft>
            </a:pPr>
            <a:r>
              <a:rPr lang="en-IN" sz="1800" dirty="0"/>
              <a:t>Lown Institute “Fair Share Spending Index” (5.9% of overall expenses attributable to community benefit)</a:t>
            </a:r>
          </a:p>
          <a:p>
            <a:pPr marL="365760" indent="-365760">
              <a:spcBef>
                <a:spcPts val="0"/>
              </a:spcBef>
              <a:spcAft>
                <a:spcPts val="600"/>
              </a:spcAft>
            </a:pPr>
            <a:r>
              <a:rPr lang="en-IN" sz="1800" dirty="0"/>
              <a:t>House Oversight Subcommittee hearing on tax-exempt hospitals and the community benefit standard (April 26, 2023)</a:t>
            </a:r>
          </a:p>
          <a:p>
            <a:pPr marL="365760" indent="-365760">
              <a:spcBef>
                <a:spcPts val="0"/>
              </a:spcBef>
              <a:spcAft>
                <a:spcPts val="600"/>
              </a:spcAft>
            </a:pPr>
            <a:r>
              <a:rPr lang="en-IN" sz="1800" dirty="0"/>
              <a:t>2023 and 2024 letters to IRS from members of US Senate and House of Representatives</a:t>
            </a:r>
          </a:p>
          <a:p>
            <a:pPr marL="365760" indent="-365760">
              <a:spcBef>
                <a:spcPts val="0"/>
              </a:spcBef>
              <a:spcAft>
                <a:spcPts val="600"/>
              </a:spcAft>
            </a:pPr>
            <a:r>
              <a:rPr lang="en-IN" sz="1800" dirty="0"/>
              <a:t>Holding Non-Profit Hospitals Accountable Act (introduced, not enacted)</a:t>
            </a:r>
          </a:p>
        </p:txBody>
      </p:sp>
    </p:spTree>
    <p:extLst>
      <p:ext uri="{BB962C8B-B14F-4D97-AF65-F5344CB8AC3E}">
        <p14:creationId xmlns:p14="http://schemas.microsoft.com/office/powerpoint/2010/main" val="3532180468"/>
      </p:ext>
    </p:extLst>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67943B1B-60E3-3228-159F-53959E2FD28A}"/>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28FA8DA-6851-911B-0FB1-DF9588F35168}"/>
              </a:ext>
            </a:extLst>
          </p:cNvPr>
          <p:cNvGraphicFramePr>
            <a:graphicFrameLocks noChangeAspect="1"/>
          </p:cNvGraphicFramePr>
          <p:nvPr>
            <p:custDataLst>
              <p:tags r:id="rId2"/>
            </p:custDataLst>
            <p:extLst>
              <p:ext uri="{D42A27DB-BD31-4B8C-83A1-F6EECF244321}">
                <p14:modId xmlns:p14="http://schemas.microsoft.com/office/powerpoint/2010/main" val="202525794"/>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228FA8DA-6851-911B-0FB1-DF9588F35168}"/>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3E9E511-3D02-E3C1-02D0-71DCADCE34AB}"/>
              </a:ext>
            </a:extLst>
          </p:cNvPr>
          <p:cNvSpPr>
            <a:spLocks noGrp="1"/>
          </p:cNvSpPr>
          <p:nvPr>
            <p:ph type="title"/>
          </p:nvPr>
        </p:nvSpPr>
        <p:spPr>
          <a:xfrm>
            <a:off x="488949" y="346075"/>
            <a:ext cx="11223625" cy="469900"/>
          </a:xfrm>
        </p:spPr>
        <p:txBody>
          <a:bodyPr vert="horz"/>
          <a:lstStyle/>
          <a:p>
            <a:r>
              <a:rPr lang="en-IN" dirty="0"/>
              <a:t>Increased scrutiny of tax-exempt hospitals’ community benefit (cont.) </a:t>
            </a:r>
            <a:endParaRPr lang="en-US" dirty="0"/>
          </a:p>
        </p:txBody>
      </p:sp>
      <p:sp>
        <p:nvSpPr>
          <p:cNvPr id="3" name="Content Placeholder 2">
            <a:extLst>
              <a:ext uri="{FF2B5EF4-FFF2-40B4-BE49-F238E27FC236}">
                <a16:creationId xmlns:a16="http://schemas.microsoft.com/office/drawing/2014/main" id="{DA2FE6F9-E15C-5FBA-D005-76C0F577BE48}"/>
              </a:ext>
            </a:extLst>
          </p:cNvPr>
          <p:cNvSpPr>
            <a:spLocks noGrp="1"/>
          </p:cNvSpPr>
          <p:nvPr>
            <p:ph type="body" sz="quarter" idx="4294967295"/>
          </p:nvPr>
        </p:nvSpPr>
        <p:spPr>
          <a:xfrm>
            <a:off x="479424" y="1424025"/>
            <a:ext cx="11233151" cy="4668799"/>
          </a:xfrm>
        </p:spPr>
        <p:txBody>
          <a:bodyPr/>
          <a:lstStyle/>
          <a:p>
            <a:pPr marL="365760" indent="-365760">
              <a:spcBef>
                <a:spcPts val="0"/>
              </a:spcBef>
              <a:spcAft>
                <a:spcPts val="600"/>
              </a:spcAft>
            </a:pPr>
            <a:r>
              <a:rPr lang="en-IN" sz="1800" dirty="0"/>
              <a:t>Committee for a Responsible Federal Budget (CRFB), June 2024 report, “The Federal Tax Benefits for Nonprofit Hospitals“:</a:t>
            </a:r>
          </a:p>
          <a:p>
            <a:pPr marL="731520" indent="-365760">
              <a:spcBef>
                <a:spcPts val="0"/>
              </a:spcBef>
              <a:spcAft>
                <a:spcPts val="600"/>
              </a:spcAft>
            </a:pPr>
            <a:r>
              <a:rPr lang="en-IN" sz="1800" dirty="0"/>
              <a:t>Estimates 10-year federal revenue loss of $260b from nonprofit hospital tax exemption.</a:t>
            </a:r>
          </a:p>
          <a:p>
            <a:pPr marL="731520" indent="-365760">
              <a:spcBef>
                <a:spcPts val="0"/>
              </a:spcBef>
              <a:spcAft>
                <a:spcPts val="600"/>
              </a:spcAft>
            </a:pPr>
            <a:r>
              <a:rPr lang="en-IN" sz="1800" dirty="0"/>
              <a:t>Questions whether Medicaid “shortfall” and medical education are community benefit</a:t>
            </a:r>
          </a:p>
          <a:p>
            <a:pPr marL="365760" indent="-365760">
              <a:spcBef>
                <a:spcPts val="0"/>
              </a:spcBef>
              <a:spcAft>
                <a:spcPts val="600"/>
              </a:spcAft>
            </a:pPr>
            <a:r>
              <a:rPr lang="en-IN" sz="1800" dirty="0"/>
              <a:t>Treasury Inspector General for Tax Administration (TIGTA) review of the IRS’s oversight of tax-exempt hospitals (ongoing):</a:t>
            </a:r>
          </a:p>
          <a:p>
            <a:pPr marL="731520" indent="-365760">
              <a:spcBef>
                <a:spcPts val="0"/>
              </a:spcBef>
              <a:spcAft>
                <a:spcPts val="600"/>
              </a:spcAft>
            </a:pPr>
            <a:r>
              <a:rPr lang="en-IN" sz="1800" dirty="0"/>
              <a:t>House Ways and Means Committee budget savings options list (released January 2025)</a:t>
            </a:r>
          </a:p>
          <a:p>
            <a:pPr marL="731520" indent="-365760">
              <a:spcBef>
                <a:spcPts val="0"/>
              </a:spcBef>
              <a:spcAft>
                <a:spcPts val="600"/>
              </a:spcAft>
            </a:pPr>
            <a:r>
              <a:rPr lang="en-IN" sz="1800" dirty="0"/>
              <a:t>Proposes eliminating tax-exempt status for hospitals (for estimated $260b budget savings)</a:t>
            </a:r>
          </a:p>
          <a:p>
            <a:pPr marL="731520" indent="-365760">
              <a:spcBef>
                <a:spcPts val="0"/>
              </a:spcBef>
              <a:spcAft>
                <a:spcPts val="600"/>
              </a:spcAft>
            </a:pPr>
            <a:r>
              <a:rPr lang="en-IN" sz="1800" dirty="0"/>
              <a:t>Proposes eliminating charitable contribution deduction for contributions to health care organizations</a:t>
            </a:r>
          </a:p>
        </p:txBody>
      </p:sp>
    </p:spTree>
    <p:extLst>
      <p:ext uri="{BB962C8B-B14F-4D97-AF65-F5344CB8AC3E}">
        <p14:creationId xmlns:p14="http://schemas.microsoft.com/office/powerpoint/2010/main" val="3494442106"/>
      </p:ext>
    </p:extLst>
  </p:cSld>
  <p:clrMapOvr>
    <a:overrideClrMapping bg1="lt1" tx1="dk1" bg2="lt2" tx2="dk2" accent1="accent1" accent2="accent2" accent3="accent3" accent4="accent4" accent5="accent5" accent6="accent6" hlink="hlink" folHlink="folHlink"/>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038D477A-A834-25A5-0FFB-6BE9AECA914B}"/>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761F762-FF5D-5BFA-11C0-0294340D26A0}"/>
              </a:ext>
            </a:extLst>
          </p:cNvPr>
          <p:cNvGraphicFramePr>
            <a:graphicFrameLocks noChangeAspect="1"/>
          </p:cNvGraphicFramePr>
          <p:nvPr>
            <p:custDataLst>
              <p:tags r:id="rId2"/>
            </p:custDataLst>
            <p:extLst>
              <p:ext uri="{D42A27DB-BD31-4B8C-83A1-F6EECF244321}">
                <p14:modId xmlns:p14="http://schemas.microsoft.com/office/powerpoint/2010/main" val="4285121414"/>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6761F762-FF5D-5BFA-11C0-0294340D26A0}"/>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77D20A3-0B0E-7723-2ECC-67A14E7A4AF0}"/>
              </a:ext>
            </a:extLst>
          </p:cNvPr>
          <p:cNvSpPr>
            <a:spLocks noGrp="1"/>
          </p:cNvSpPr>
          <p:nvPr>
            <p:ph type="title"/>
          </p:nvPr>
        </p:nvSpPr>
        <p:spPr>
          <a:xfrm>
            <a:off x="488949" y="346075"/>
            <a:ext cx="11223625" cy="469900"/>
          </a:xfrm>
        </p:spPr>
        <p:txBody>
          <a:bodyPr vert="horz"/>
          <a:lstStyle/>
          <a:p>
            <a:r>
              <a:rPr lang="en-IN" dirty="0"/>
              <a:t>Increased scrutiny of tax-exempt hospitals’ community benefit (continued) </a:t>
            </a:r>
            <a:endParaRPr lang="en-US" dirty="0"/>
          </a:p>
        </p:txBody>
      </p:sp>
      <p:sp>
        <p:nvSpPr>
          <p:cNvPr id="3" name="Content Placeholder 2">
            <a:extLst>
              <a:ext uri="{FF2B5EF4-FFF2-40B4-BE49-F238E27FC236}">
                <a16:creationId xmlns:a16="http://schemas.microsoft.com/office/drawing/2014/main" id="{2DAF520B-1FBA-E4D9-B0E8-68AC099514BF}"/>
              </a:ext>
            </a:extLst>
          </p:cNvPr>
          <p:cNvSpPr>
            <a:spLocks noGrp="1"/>
          </p:cNvSpPr>
          <p:nvPr>
            <p:ph type="body" sz="quarter" idx="4294967295"/>
          </p:nvPr>
        </p:nvSpPr>
        <p:spPr>
          <a:xfrm>
            <a:off x="479424" y="1424025"/>
            <a:ext cx="11233151" cy="4668799"/>
          </a:xfrm>
        </p:spPr>
        <p:txBody>
          <a:bodyPr/>
          <a:lstStyle/>
          <a:p>
            <a:pPr marL="365760" indent="-365760">
              <a:spcBef>
                <a:spcPts val="0"/>
              </a:spcBef>
              <a:spcAft>
                <a:spcPts val="600"/>
              </a:spcAft>
            </a:pPr>
            <a:r>
              <a:rPr lang="en-IN" dirty="0"/>
              <a:t>Letter to IRS from Sens. Warren (D-Mass), Warnock (D-Ga), Cassidy (R-La) and Grassley (R-Iowa) (August 7, 2023):</a:t>
            </a:r>
          </a:p>
          <a:p>
            <a:pPr marL="731520" indent="-365760">
              <a:spcBef>
                <a:spcPts val="0"/>
              </a:spcBef>
              <a:spcAft>
                <a:spcPts val="600"/>
              </a:spcAft>
            </a:pPr>
            <a:r>
              <a:rPr lang="en-IN" dirty="0"/>
              <a:t>Concerned that some tax-exempt hospitals may not be meeting their “required obligation to provide reduced or free care to their most vulnerable patients”: </a:t>
            </a:r>
          </a:p>
          <a:p>
            <a:pPr marL="1097280" indent="-365760">
              <a:spcBef>
                <a:spcPts val="0"/>
              </a:spcBef>
              <a:spcAft>
                <a:spcPts val="600"/>
              </a:spcAft>
            </a:pPr>
            <a:r>
              <a:rPr lang="en-IN" dirty="0"/>
              <a:t>Based on studies and press reports (e.g., Lown Institute, Health Affairs, Kaiser Family Foundation)</a:t>
            </a:r>
          </a:p>
          <a:p>
            <a:pPr marL="731520" indent="-365760">
              <a:spcBef>
                <a:spcPts val="0"/>
              </a:spcBef>
              <a:spcAft>
                <a:spcPts val="600"/>
              </a:spcAft>
            </a:pPr>
            <a:r>
              <a:rPr lang="en-IN" dirty="0"/>
              <a:t>Asks IRS to describe updates it has made since September 2020 to Form 990 Schedule H instructions to modify how community benefit information is identified and provided</a:t>
            </a:r>
          </a:p>
          <a:p>
            <a:pPr marL="731520" indent="-365760">
              <a:spcBef>
                <a:spcPts val="0"/>
              </a:spcBef>
              <a:spcAft>
                <a:spcPts val="600"/>
              </a:spcAft>
            </a:pPr>
            <a:r>
              <a:rPr lang="en-IN" dirty="0"/>
              <a:t>Asks IRS how many hospitals: </a:t>
            </a:r>
          </a:p>
          <a:p>
            <a:pPr marL="1097280" indent="-365760">
              <a:spcBef>
                <a:spcPts val="0"/>
              </a:spcBef>
              <a:spcAft>
                <a:spcPts val="600"/>
              </a:spcAft>
            </a:pPr>
            <a:r>
              <a:rPr lang="en-IN" dirty="0"/>
              <a:t>IRS has referred for audit due to IRC Section 501(r) violations from FY19–22</a:t>
            </a:r>
          </a:p>
          <a:p>
            <a:pPr marL="1097280" indent="-365760">
              <a:spcBef>
                <a:spcPts val="0"/>
              </a:spcBef>
              <a:spcAft>
                <a:spcPts val="600"/>
              </a:spcAft>
            </a:pPr>
            <a:r>
              <a:rPr lang="en-IN" dirty="0"/>
              <a:t>Have lost tax exemption due to community benefit standard noncompliance</a:t>
            </a:r>
          </a:p>
          <a:p>
            <a:pPr marL="1097280" indent="-365760">
              <a:spcBef>
                <a:spcPts val="0"/>
              </a:spcBef>
              <a:spcAft>
                <a:spcPts val="600"/>
              </a:spcAft>
            </a:pPr>
            <a:r>
              <a:rPr lang="en-IN" dirty="0"/>
              <a:t>Filed Forms 990 that were rejected by IRS for failing to meet community benefit reporting requirements</a:t>
            </a:r>
          </a:p>
          <a:p>
            <a:pPr marL="365760" indent="-365760">
              <a:spcBef>
                <a:spcPts val="0"/>
              </a:spcBef>
              <a:spcAft>
                <a:spcPts val="600"/>
              </a:spcAft>
            </a:pPr>
            <a:r>
              <a:rPr lang="en-IN" dirty="0"/>
              <a:t>Majority Staff Report of HELP Committee of US Senate (October 10, 2023) suggests:</a:t>
            </a:r>
          </a:p>
          <a:p>
            <a:pPr marL="731520" indent="-365760">
              <a:spcBef>
                <a:spcPts val="0"/>
              </a:spcBef>
              <a:spcAft>
                <a:spcPts val="600"/>
              </a:spcAft>
            </a:pPr>
            <a:r>
              <a:rPr lang="en-IN" dirty="0"/>
              <a:t>Establishing a minimum level of charity care that tax-exempt hospitals must provide</a:t>
            </a:r>
          </a:p>
          <a:p>
            <a:pPr marL="731520" indent="-365760">
              <a:spcBef>
                <a:spcPts val="0"/>
              </a:spcBef>
              <a:spcAft>
                <a:spcPts val="600"/>
              </a:spcAft>
            </a:pPr>
            <a:r>
              <a:rPr lang="en-IN" dirty="0"/>
              <a:t>Establishing standards for hospitals financial assistance, such as requiring financial assistance to persons under a certain federal poverty guidelines threshold (e.g., 400%)</a:t>
            </a:r>
          </a:p>
          <a:p>
            <a:pPr marL="731520" indent="-365760">
              <a:spcBef>
                <a:spcPts val="0"/>
              </a:spcBef>
              <a:spcAft>
                <a:spcPts val="600"/>
              </a:spcAft>
            </a:pPr>
            <a:r>
              <a:rPr lang="en-IN" dirty="0"/>
              <a:t>Amending Schedule H to require community benefit reporting on hospital-by-hospital basis, not organization-by-organization (EIN-by-EIN) basis</a:t>
            </a:r>
          </a:p>
        </p:txBody>
      </p:sp>
    </p:spTree>
    <p:extLst>
      <p:ext uri="{BB962C8B-B14F-4D97-AF65-F5344CB8AC3E}">
        <p14:creationId xmlns:p14="http://schemas.microsoft.com/office/powerpoint/2010/main" val="2487886236"/>
      </p:ext>
    </p:extLst>
  </p:cSld>
  <p:clrMapOvr>
    <a:overrideClrMapping bg1="lt1" tx1="dk1" bg2="lt2" tx2="dk2" accent1="accent1" accent2="accent2" accent3="accent3" accent4="accent4" accent5="accent5" accent6="accent6" hlink="hlink" folHlink="folHlink"/>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19CED61B-ECED-2F62-40B6-62395DB5A4CA}"/>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690D10D-8505-1ECA-E6DB-3CD0169D69DC}"/>
              </a:ext>
            </a:extLst>
          </p:cNvPr>
          <p:cNvGraphicFramePr>
            <a:graphicFrameLocks noChangeAspect="1"/>
          </p:cNvGraphicFramePr>
          <p:nvPr>
            <p:custDataLst>
              <p:tags r:id="rId2"/>
            </p:custDataLst>
            <p:extLst>
              <p:ext uri="{D42A27DB-BD31-4B8C-83A1-F6EECF244321}">
                <p14:modId xmlns:p14="http://schemas.microsoft.com/office/powerpoint/2010/main" val="1526286996"/>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F690D10D-8505-1ECA-E6DB-3CD0169D69DC}"/>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E1C8100-DC04-6750-1F3E-9AE1D1DA1FE6}"/>
              </a:ext>
            </a:extLst>
          </p:cNvPr>
          <p:cNvSpPr>
            <a:spLocks noGrp="1"/>
          </p:cNvSpPr>
          <p:nvPr>
            <p:ph type="title"/>
          </p:nvPr>
        </p:nvSpPr>
        <p:spPr>
          <a:xfrm>
            <a:off x="488949" y="346075"/>
            <a:ext cx="11223625" cy="469900"/>
          </a:xfrm>
        </p:spPr>
        <p:txBody>
          <a:bodyPr vert="horz"/>
          <a:lstStyle/>
          <a:p>
            <a:r>
              <a:rPr lang="en-IN" dirty="0"/>
              <a:t>Increased congressional scrutiny of tax-exempt hospitals’ community benefit </a:t>
            </a:r>
            <a:endParaRPr lang="en-US" dirty="0"/>
          </a:p>
        </p:txBody>
      </p:sp>
      <p:sp>
        <p:nvSpPr>
          <p:cNvPr id="3" name="Content Placeholder 2">
            <a:extLst>
              <a:ext uri="{FF2B5EF4-FFF2-40B4-BE49-F238E27FC236}">
                <a16:creationId xmlns:a16="http://schemas.microsoft.com/office/drawing/2014/main" id="{AD7D8789-9559-03D7-B7BB-B6CE6FBFF892}"/>
              </a:ext>
            </a:extLst>
          </p:cNvPr>
          <p:cNvSpPr>
            <a:spLocks noGrp="1"/>
          </p:cNvSpPr>
          <p:nvPr>
            <p:ph type="body" sz="quarter" idx="4294967295"/>
          </p:nvPr>
        </p:nvSpPr>
        <p:spPr>
          <a:xfrm>
            <a:off x="479424" y="1424025"/>
            <a:ext cx="11233151" cy="4668799"/>
          </a:xfrm>
        </p:spPr>
        <p:txBody>
          <a:bodyPr/>
          <a:lstStyle/>
          <a:p>
            <a:pPr marL="365760" indent="-365760">
              <a:spcBef>
                <a:spcPts val="0"/>
              </a:spcBef>
              <a:spcAft>
                <a:spcPts val="600"/>
              </a:spcAft>
            </a:pPr>
            <a:r>
              <a:rPr lang="en-IN" sz="1800" dirty="0"/>
              <a:t>Letter to IRS on Community Benefit Enforcement by nine House democrats (April 4, 2024) recommends that the IRS:</a:t>
            </a:r>
          </a:p>
          <a:p>
            <a:pPr marL="731520" indent="-365760">
              <a:spcBef>
                <a:spcPts val="0"/>
              </a:spcBef>
              <a:spcAft>
                <a:spcPts val="600"/>
              </a:spcAft>
            </a:pPr>
            <a:r>
              <a:rPr lang="en-IN" sz="1800" dirty="0"/>
              <a:t>Increase enforcement activities, such as audits and/or revocation of tax-exempt status, so nonprofit hospitals are held accountable for practices that threaten the wellbeing of their patients</a:t>
            </a:r>
          </a:p>
          <a:p>
            <a:pPr marL="731520" indent="-365760">
              <a:spcBef>
                <a:spcPts val="0"/>
              </a:spcBef>
              <a:spcAft>
                <a:spcPts val="600"/>
              </a:spcAft>
            </a:pPr>
            <a:r>
              <a:rPr lang="en-IN" sz="1800" dirty="0"/>
              <a:t>Issue a revenue ruling clarifying that hospitals must provide charity care commensurate with their financial resources</a:t>
            </a:r>
          </a:p>
          <a:p>
            <a:pPr marL="365760" indent="-365760">
              <a:spcBef>
                <a:spcPts val="0"/>
              </a:spcBef>
              <a:spcAft>
                <a:spcPts val="600"/>
              </a:spcAft>
            </a:pPr>
            <a:r>
              <a:rPr lang="en-IN" sz="1800" dirty="0"/>
              <a:t>Letter from Senators Warren and Grassley to IRS (November 19, 2024):</a:t>
            </a:r>
          </a:p>
          <a:p>
            <a:pPr marL="731520" indent="-365760">
              <a:spcBef>
                <a:spcPts val="0"/>
              </a:spcBef>
              <a:spcAft>
                <a:spcPts val="600"/>
              </a:spcAft>
            </a:pPr>
            <a:r>
              <a:rPr lang="en-IN" sz="1800" dirty="0"/>
              <a:t>Expresses concern that some nonprofit hospitals do not “primarily benefit the community,” citing research from Lown Institute and CRFB, among others</a:t>
            </a:r>
          </a:p>
          <a:p>
            <a:pPr marL="731520" indent="-365760">
              <a:spcBef>
                <a:spcPts val="0"/>
              </a:spcBef>
              <a:spcAft>
                <a:spcPts val="600"/>
              </a:spcAft>
            </a:pPr>
            <a:r>
              <a:rPr lang="en-IN" sz="1800" dirty="0"/>
              <a:t>Urges IRS  to strengthen and enforce regulations under IRC Sections 501(c)(3) and 501(r) by: </a:t>
            </a:r>
          </a:p>
          <a:p>
            <a:pPr marL="1097280" indent="-365760">
              <a:spcBef>
                <a:spcPts val="0"/>
              </a:spcBef>
              <a:spcAft>
                <a:spcPts val="600"/>
              </a:spcAft>
            </a:pPr>
            <a:r>
              <a:rPr lang="en-IN" sz="1800" dirty="0"/>
              <a:t>Increasing oversight of tax-exempt hospitals</a:t>
            </a:r>
          </a:p>
          <a:p>
            <a:pPr marL="1097280" indent="-365760">
              <a:spcBef>
                <a:spcPts val="0"/>
              </a:spcBef>
              <a:spcAft>
                <a:spcPts val="600"/>
              </a:spcAft>
            </a:pPr>
            <a:r>
              <a:rPr lang="en-IN" sz="1800" dirty="0"/>
              <a:t>Clarifying requirements for financial assistance policies</a:t>
            </a:r>
          </a:p>
          <a:p>
            <a:pPr marL="1097280" indent="-365760">
              <a:spcBef>
                <a:spcPts val="0"/>
              </a:spcBef>
              <a:spcAft>
                <a:spcPts val="600"/>
              </a:spcAft>
            </a:pPr>
            <a:r>
              <a:rPr lang="en-IN" sz="1800" dirty="0"/>
              <a:t>Prohibiting nonprofit hospitals from using aggressive collections practices</a:t>
            </a:r>
          </a:p>
          <a:p>
            <a:pPr marL="1097280" indent="-365760">
              <a:spcBef>
                <a:spcPts val="0"/>
              </a:spcBef>
              <a:spcAft>
                <a:spcPts val="600"/>
              </a:spcAft>
            </a:pPr>
            <a:r>
              <a:rPr lang="en-IN" sz="1800" dirty="0"/>
              <a:t>Eliminating the community benefit standard and restoring the financial ability standard</a:t>
            </a:r>
          </a:p>
        </p:txBody>
      </p:sp>
    </p:spTree>
    <p:extLst>
      <p:ext uri="{BB962C8B-B14F-4D97-AF65-F5344CB8AC3E}">
        <p14:creationId xmlns:p14="http://schemas.microsoft.com/office/powerpoint/2010/main" val="2653039795"/>
      </p:ext>
    </p:extLst>
  </p:cSld>
  <p:clrMapOvr>
    <a:overrideClrMapping bg1="lt1" tx1="dk1" bg2="lt2" tx2="dk2" accent1="accent1" accent2="accent2" accent3="accent3" accent4="accent4" accent5="accent5" accent6="accent6" hlink="hlink" folHlink="folHlink"/>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90082B-0BF7-5BE3-C073-9DA14380A74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B0712C-FDE9-B7B0-A0FE-20A3F1F727C8}"/>
              </a:ext>
            </a:extLst>
          </p:cNvPr>
          <p:cNvSpPr>
            <a:spLocks noGrp="1"/>
          </p:cNvSpPr>
          <p:nvPr>
            <p:ph type="title"/>
          </p:nvPr>
        </p:nvSpPr>
        <p:spPr>
          <a:xfrm>
            <a:off x="485775" y="1970406"/>
            <a:ext cx="7394575" cy="2869882"/>
          </a:xfrm>
        </p:spPr>
        <p:txBody>
          <a:bodyPr/>
          <a:lstStyle/>
          <a:p>
            <a:r>
              <a:rPr lang="en-IN" dirty="0"/>
              <a:t>IRC Section 501(r) and community benefit standard examinations</a:t>
            </a:r>
          </a:p>
        </p:txBody>
      </p:sp>
    </p:spTree>
    <p:extLst>
      <p:ext uri="{BB962C8B-B14F-4D97-AF65-F5344CB8AC3E}">
        <p14:creationId xmlns:p14="http://schemas.microsoft.com/office/powerpoint/2010/main" val="29468931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2BA561D2-55B4-DD06-F893-2F430B9B3990}"/>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FFDE3F4E-8320-4746-790A-D3FEA8FB6129}"/>
              </a:ext>
            </a:extLst>
          </p:cNvPr>
          <p:cNvGraphicFramePr>
            <a:graphicFrameLocks noChangeAspect="1"/>
          </p:cNvGraphicFramePr>
          <p:nvPr>
            <p:custDataLst>
              <p:tags r:id="rId2"/>
            </p:custDataLst>
            <p:extLst>
              <p:ext uri="{D42A27DB-BD31-4B8C-83A1-F6EECF244321}">
                <p14:modId xmlns:p14="http://schemas.microsoft.com/office/powerpoint/2010/main" val="3533296361"/>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FFDE3F4E-8320-4746-790A-D3FEA8FB6129}"/>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C4111E4-052A-C26A-408A-1183C2A24485}"/>
              </a:ext>
            </a:extLst>
          </p:cNvPr>
          <p:cNvSpPr>
            <a:spLocks noGrp="1"/>
          </p:cNvSpPr>
          <p:nvPr>
            <p:ph type="title"/>
          </p:nvPr>
        </p:nvSpPr>
        <p:spPr>
          <a:xfrm>
            <a:off x="488949" y="346075"/>
            <a:ext cx="11223625" cy="469900"/>
          </a:xfrm>
        </p:spPr>
        <p:txBody>
          <a:bodyPr vert="horz"/>
          <a:lstStyle/>
          <a:p>
            <a:r>
              <a:rPr lang="en-IN" dirty="0"/>
              <a:t>IRS response to congressional hearings and reports</a:t>
            </a:r>
            <a:endParaRPr lang="en-US" dirty="0"/>
          </a:p>
        </p:txBody>
      </p:sp>
      <p:sp>
        <p:nvSpPr>
          <p:cNvPr id="3" name="Content Placeholder 2">
            <a:extLst>
              <a:ext uri="{FF2B5EF4-FFF2-40B4-BE49-F238E27FC236}">
                <a16:creationId xmlns:a16="http://schemas.microsoft.com/office/drawing/2014/main" id="{533B01FF-CFC9-334D-BBDF-0433BD2B6050}"/>
              </a:ext>
            </a:extLst>
          </p:cNvPr>
          <p:cNvSpPr>
            <a:spLocks noGrp="1"/>
          </p:cNvSpPr>
          <p:nvPr>
            <p:ph type="body" sz="quarter" idx="4294967295"/>
          </p:nvPr>
        </p:nvSpPr>
        <p:spPr>
          <a:xfrm>
            <a:off x="479424" y="1424025"/>
            <a:ext cx="11233151" cy="4668799"/>
          </a:xfrm>
        </p:spPr>
        <p:txBody>
          <a:bodyPr/>
          <a:lstStyle/>
          <a:p>
            <a:pPr marL="0" indent="0">
              <a:spcBef>
                <a:spcPts val="0"/>
              </a:spcBef>
              <a:spcAft>
                <a:spcPts val="600"/>
              </a:spcAft>
              <a:buNone/>
            </a:pPr>
            <a:r>
              <a:rPr lang="en-IN" sz="1800" dirty="0"/>
              <a:t>IRS Tax-Exempt and Government Entities has recently added tax-exempt hospitals’ compliance with the community benefit standard and IRC Section 501(r) as a new compliance approach — see </a:t>
            </a:r>
            <a:r>
              <a:rPr lang="en-IN" sz="1800" dirty="0">
                <a:solidFill>
                  <a:srgbClr val="FFE600"/>
                </a:solidFill>
                <a:hlinkClick r:id="rId7">
                  <a:extLst>
                    <a:ext uri="{A12FA001-AC4F-418D-AE19-62706E023703}">
                      <ahyp:hlinkClr xmlns:ahyp="http://schemas.microsoft.com/office/drawing/2018/hyperlinkcolor" val="tx"/>
                    </a:ext>
                  </a:extLst>
                </a:hlinkClick>
              </a:rPr>
              <a:t>Tax-Exempt and Government Entities: Compliance program and priorities | Internal Revenue Service (irs.gov)</a:t>
            </a:r>
            <a:r>
              <a:rPr lang="en-IN" sz="1800" dirty="0">
                <a:solidFill>
                  <a:srgbClr val="FFE600"/>
                </a:solidFill>
              </a:rPr>
              <a:t>.</a:t>
            </a:r>
          </a:p>
          <a:p>
            <a:pPr marL="365760" indent="-365760">
              <a:spcBef>
                <a:spcPts val="0"/>
              </a:spcBef>
              <a:spcAft>
                <a:spcPts val="600"/>
              </a:spcAft>
            </a:pPr>
            <a:endParaRPr lang="en-IN" sz="1800" dirty="0"/>
          </a:p>
          <a:p>
            <a:pPr marL="365760" indent="-365760">
              <a:spcBef>
                <a:spcPts val="0"/>
              </a:spcBef>
              <a:spcAft>
                <a:spcPts val="600"/>
              </a:spcAft>
            </a:pPr>
            <a:r>
              <a:rPr lang="en-IN" sz="1800" dirty="0"/>
              <a:t>Focus of strategy: compliance with the Patient Protection and Affordable Care Act (PPACA):</a:t>
            </a:r>
          </a:p>
          <a:p>
            <a:pPr marL="731520" indent="-365760">
              <a:spcBef>
                <a:spcPts val="0"/>
              </a:spcBef>
              <a:spcAft>
                <a:spcPts val="600"/>
              </a:spcAft>
            </a:pPr>
            <a:r>
              <a:rPr lang="en-IN" sz="1800" dirty="0"/>
              <a:t>IRS to verify whether tax-exempt hospitals are complying with their statutory obligations under IRC Section 501(c)(3), including the community benefit standard, and IRC Section 501(r)</a:t>
            </a:r>
          </a:p>
          <a:p>
            <a:pPr marL="731520" indent="-365760">
              <a:spcBef>
                <a:spcPts val="0"/>
              </a:spcBef>
              <a:spcAft>
                <a:spcPts val="600"/>
              </a:spcAft>
            </a:pPr>
            <a:r>
              <a:rPr lang="en-IN" sz="1800" dirty="0"/>
              <a:t>Treatment stream: examinations</a:t>
            </a:r>
          </a:p>
        </p:txBody>
      </p:sp>
    </p:spTree>
    <p:extLst>
      <p:ext uri="{BB962C8B-B14F-4D97-AF65-F5344CB8AC3E}">
        <p14:creationId xmlns:p14="http://schemas.microsoft.com/office/powerpoint/2010/main" val="1208034677"/>
      </p:ext>
    </p:extLst>
  </p:cSld>
  <p:clrMapOvr>
    <a:overrideClrMapping bg1="lt1" tx1="dk1" bg2="lt2" tx2="dk2" accent1="accent1" accent2="accent2" accent3="accent3" accent4="accent4" accent5="accent5" accent6="accent6" hlink="hlink" folHlink="folHlink"/>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65AABA9F-1B63-376E-D983-3A972588D2F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CF31DEB-68B2-CB61-9D81-6A74BDB9BFE6}"/>
              </a:ext>
            </a:extLst>
          </p:cNvPr>
          <p:cNvGraphicFramePr>
            <a:graphicFrameLocks noChangeAspect="1"/>
          </p:cNvGraphicFramePr>
          <p:nvPr>
            <p:custDataLst>
              <p:tags r:id="rId2"/>
            </p:custDataLst>
            <p:extLst>
              <p:ext uri="{D42A27DB-BD31-4B8C-83A1-F6EECF244321}">
                <p14:modId xmlns:p14="http://schemas.microsoft.com/office/powerpoint/2010/main" val="586681130"/>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CCF31DEB-68B2-CB61-9D81-6A74BDB9BFE6}"/>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913008-EB17-AC0F-EA7D-280492E4CD7F}"/>
              </a:ext>
            </a:extLst>
          </p:cNvPr>
          <p:cNvSpPr>
            <a:spLocks noGrp="1"/>
          </p:cNvSpPr>
          <p:nvPr>
            <p:ph type="title"/>
          </p:nvPr>
        </p:nvSpPr>
        <p:spPr>
          <a:xfrm>
            <a:off x="488949" y="346075"/>
            <a:ext cx="11223625" cy="469900"/>
          </a:xfrm>
        </p:spPr>
        <p:txBody>
          <a:bodyPr vert="horz"/>
          <a:lstStyle/>
          <a:p>
            <a:r>
              <a:rPr lang="en-US" dirty="0"/>
              <a:t>IRC Section 501(r) — common information document requests</a:t>
            </a:r>
          </a:p>
        </p:txBody>
      </p:sp>
      <p:sp>
        <p:nvSpPr>
          <p:cNvPr id="3" name="Content Placeholder 2">
            <a:extLst>
              <a:ext uri="{FF2B5EF4-FFF2-40B4-BE49-F238E27FC236}">
                <a16:creationId xmlns:a16="http://schemas.microsoft.com/office/drawing/2014/main" id="{690BBD0C-2117-FD99-A7F2-6A3B21405398}"/>
              </a:ext>
            </a:extLst>
          </p:cNvPr>
          <p:cNvSpPr>
            <a:spLocks noGrp="1"/>
          </p:cNvSpPr>
          <p:nvPr>
            <p:ph type="body" sz="quarter" idx="4294967295"/>
          </p:nvPr>
        </p:nvSpPr>
        <p:spPr>
          <a:xfrm>
            <a:off x="479424" y="1424025"/>
            <a:ext cx="11233151" cy="4668799"/>
          </a:xfrm>
        </p:spPr>
        <p:txBody>
          <a:bodyPr/>
          <a:lstStyle/>
          <a:p>
            <a:pPr marL="0" indent="0">
              <a:spcBef>
                <a:spcPts val="0"/>
              </a:spcBef>
              <a:spcAft>
                <a:spcPts val="600"/>
              </a:spcAft>
              <a:buNone/>
            </a:pPr>
            <a:r>
              <a:rPr lang="en-US" dirty="0"/>
              <a:t>Examples of recent IRS examination questions/information document requests (IDRs):</a:t>
            </a:r>
          </a:p>
          <a:p>
            <a:pPr marL="365760" indent="-365760">
              <a:spcBef>
                <a:spcPts val="0"/>
              </a:spcBef>
              <a:spcAft>
                <a:spcPts val="600"/>
              </a:spcAft>
            </a:pPr>
            <a:r>
              <a:rPr lang="en-US" dirty="0"/>
              <a:t>Provide all Worksheets (1 to 8) and supporting records (financial and nonfinancial) used in preparation of Schedule H</a:t>
            </a:r>
          </a:p>
          <a:p>
            <a:pPr marL="365760" indent="-365760">
              <a:spcBef>
                <a:spcPts val="0"/>
              </a:spcBef>
              <a:spcAft>
                <a:spcPts val="600"/>
              </a:spcAft>
            </a:pPr>
            <a:r>
              <a:rPr lang="en-US" dirty="0"/>
              <a:t>Provide documents related to the budget amounts for free or discounted care provided under its financial assistance policy for tax year ending December 31, 202X, as answered for Part I, line 5</a:t>
            </a:r>
          </a:p>
          <a:p>
            <a:pPr marL="365760" indent="-365760">
              <a:spcBef>
                <a:spcPts val="0"/>
              </a:spcBef>
              <a:spcAft>
                <a:spcPts val="600"/>
              </a:spcAft>
            </a:pPr>
            <a:r>
              <a:rPr lang="en-US" dirty="0"/>
              <a:t>Provide a community benefit report prepared for the year ended December 31, 202X, including a statement of any discounts or financial assistance offered or provided for medical care and whether or not those discounts were included in the financial assistance policy</a:t>
            </a:r>
          </a:p>
          <a:p>
            <a:pPr marL="365760" indent="-365760">
              <a:spcBef>
                <a:spcPts val="0"/>
              </a:spcBef>
              <a:spcAft>
                <a:spcPts val="600"/>
              </a:spcAft>
            </a:pPr>
            <a:r>
              <a:rPr lang="en-US" dirty="0"/>
              <a:t>Explain how income for a patient applying for financial assistance is determined</a:t>
            </a:r>
          </a:p>
          <a:p>
            <a:pPr marL="365760" indent="-365760">
              <a:spcBef>
                <a:spcPts val="0"/>
              </a:spcBef>
              <a:spcAft>
                <a:spcPts val="600"/>
              </a:spcAft>
            </a:pPr>
            <a:r>
              <a:rPr lang="en-US" dirty="0"/>
              <a:t>Provide any patient complaints about financial assistance and billing and collections</a:t>
            </a:r>
          </a:p>
          <a:p>
            <a:pPr marL="365760" indent="-365760">
              <a:spcBef>
                <a:spcPts val="0"/>
              </a:spcBef>
              <a:spcAft>
                <a:spcPts val="600"/>
              </a:spcAft>
            </a:pPr>
            <a:r>
              <a:rPr lang="en-US" dirty="0"/>
              <a:t>Provide any scripts or reference documents used by personnel when responding to questions regarding what is included in income for purposes of applying for financial assistance</a:t>
            </a:r>
          </a:p>
          <a:p>
            <a:pPr marL="365760" indent="-365760">
              <a:spcBef>
                <a:spcPts val="0"/>
              </a:spcBef>
              <a:spcAft>
                <a:spcPts val="600"/>
              </a:spcAft>
            </a:pPr>
            <a:r>
              <a:rPr lang="en-US" dirty="0"/>
              <a:t>Provide a schedule (or other documentation) listing all financial assistance applications filed during the tax year, which should include the following information: “Patient” (remove all patient identifiers and refer to patients as Patient 1, Patient 2 or similar), application date, amount billed to patient at time of application, amount of assistance, and the date of award determination or determination of non-eligibility</a:t>
            </a:r>
          </a:p>
        </p:txBody>
      </p:sp>
    </p:spTree>
    <p:extLst>
      <p:ext uri="{BB962C8B-B14F-4D97-AF65-F5344CB8AC3E}">
        <p14:creationId xmlns:p14="http://schemas.microsoft.com/office/powerpoint/2010/main" val="2789880569"/>
      </p:ext>
    </p:extLst>
  </p:cSld>
  <p:clrMapOvr>
    <a:overrideClrMapping bg1="lt1" tx1="dk1" bg2="lt2" tx2="dk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67E6B72-F15D-D406-C099-BCE2AE6D8824}"/>
              </a:ext>
            </a:extLst>
          </p:cNvPr>
          <p:cNvSpPr>
            <a:spLocks noGrp="1"/>
          </p:cNvSpPr>
          <p:nvPr>
            <p:ph type="title"/>
          </p:nvPr>
        </p:nvSpPr>
        <p:spPr>
          <a:xfrm>
            <a:off x="485523" y="345396"/>
            <a:ext cx="11224347" cy="470898"/>
          </a:xfrm>
        </p:spPr>
        <p:txBody>
          <a:bodyPr/>
          <a:lstStyle/>
          <a:p>
            <a:r>
              <a:rPr lang="en-IN" dirty="0"/>
              <a:t>Polling question 1</a:t>
            </a:r>
          </a:p>
        </p:txBody>
      </p:sp>
      <p:sp>
        <p:nvSpPr>
          <p:cNvPr id="6" name="Content Placeholder 7">
            <a:extLst>
              <a:ext uri="{FF2B5EF4-FFF2-40B4-BE49-F238E27FC236}">
                <a16:creationId xmlns:a16="http://schemas.microsoft.com/office/drawing/2014/main" id="{1043AFFD-84E3-E514-EA1E-C4AEC2EB567A}"/>
              </a:ext>
            </a:extLst>
          </p:cNvPr>
          <p:cNvSpPr txBox="1">
            <a:spLocks/>
          </p:cNvSpPr>
          <p:nvPr/>
        </p:nvSpPr>
        <p:spPr>
          <a:xfrm>
            <a:off x="487775" y="2135330"/>
            <a:ext cx="2442994" cy="2010509"/>
          </a:xfrm>
          <a:prstGeom prst="rect">
            <a:avLst/>
          </a:prstGeom>
        </p:spPr>
        <p:txBody>
          <a:bodyPr lIns="0" tIns="0" rIns="0" bIns="0"/>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457200" lvl="1" indent="-457200">
              <a:spcBef>
                <a:spcPts val="0"/>
              </a:spcBef>
              <a:spcAft>
                <a:spcPts val="1200"/>
              </a:spcAft>
              <a:buFont typeface="+mj-lt"/>
              <a:buAutoNum type="alphaLcPeriod"/>
            </a:pPr>
            <a:r>
              <a:rPr lang="en-IN" sz="2000" dirty="0">
                <a:solidFill>
                  <a:schemeClr val="lt1"/>
                </a:solidFill>
              </a:rPr>
              <a:t>Less than 1</a:t>
            </a:r>
          </a:p>
          <a:p>
            <a:pPr marL="457200" lvl="1" indent="-457200">
              <a:spcBef>
                <a:spcPts val="0"/>
              </a:spcBef>
              <a:spcAft>
                <a:spcPts val="1200"/>
              </a:spcAft>
              <a:buFont typeface="+mj-lt"/>
              <a:buAutoNum type="alphaLcPeriod"/>
            </a:pPr>
            <a:r>
              <a:rPr lang="en-IN" sz="2000" dirty="0">
                <a:solidFill>
                  <a:schemeClr val="lt1"/>
                </a:solidFill>
              </a:rPr>
              <a:t>1–5</a:t>
            </a:r>
          </a:p>
          <a:p>
            <a:pPr marL="457200" lvl="1" indent="-457200">
              <a:spcBef>
                <a:spcPts val="0"/>
              </a:spcBef>
              <a:spcAft>
                <a:spcPts val="1200"/>
              </a:spcAft>
              <a:buFont typeface="+mj-lt"/>
              <a:buAutoNum type="alphaLcPeriod"/>
            </a:pPr>
            <a:r>
              <a:rPr lang="en-IN" sz="2000" dirty="0">
                <a:solidFill>
                  <a:schemeClr val="lt1"/>
                </a:solidFill>
              </a:rPr>
              <a:t>5–10</a:t>
            </a:r>
          </a:p>
          <a:p>
            <a:pPr marL="457200" lvl="1" indent="-457200">
              <a:spcBef>
                <a:spcPts val="0"/>
              </a:spcBef>
              <a:spcAft>
                <a:spcPts val="1200"/>
              </a:spcAft>
              <a:buFont typeface="+mj-lt"/>
              <a:buAutoNum type="alphaLcPeriod"/>
            </a:pPr>
            <a:r>
              <a:rPr lang="en-IN" sz="2000" dirty="0">
                <a:solidFill>
                  <a:schemeClr val="lt1"/>
                </a:solidFill>
              </a:rPr>
              <a:t>More than 10</a:t>
            </a:r>
          </a:p>
        </p:txBody>
      </p:sp>
      <p:sp>
        <p:nvSpPr>
          <p:cNvPr id="7" name="Rectangle 6">
            <a:extLst>
              <a:ext uri="{FF2B5EF4-FFF2-40B4-BE49-F238E27FC236}">
                <a16:creationId xmlns:a16="http://schemas.microsoft.com/office/drawing/2014/main" id="{AAE877B0-0FD2-75AC-CE19-DCBBF224F017}"/>
              </a:ext>
            </a:extLst>
          </p:cNvPr>
          <p:cNvSpPr>
            <a:spLocks/>
          </p:cNvSpPr>
          <p:nvPr/>
        </p:nvSpPr>
        <p:spPr>
          <a:xfrm>
            <a:off x="485523" y="1424450"/>
            <a:ext cx="11227052" cy="610987"/>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2E2E38"/>
                </a:solidFill>
              </a14:hiddenFill>
            </a:ext>
            <a:ext uri="{91240B29-F687-4F45-9708-019B960494DF}">
              <a14:hiddenLine xmlns:a14="http://schemas.microsoft.com/office/drawing/2010/main" w="12700" cap="flat" cmpd="sng" algn="ctr">
                <a:solidFill>
                  <a:srgbClr val="2E2E3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p>
            <a:r>
              <a:rPr lang="en-IN" sz="2400" b="1" dirty="0"/>
              <a:t>How many years of experience do you have in tax-exempt organizations?</a:t>
            </a:r>
          </a:p>
        </p:txBody>
      </p:sp>
    </p:spTree>
    <p:extLst>
      <p:ext uri="{BB962C8B-B14F-4D97-AF65-F5344CB8AC3E}">
        <p14:creationId xmlns:p14="http://schemas.microsoft.com/office/powerpoint/2010/main" val="41017538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B65570-303D-1560-C7AD-8C8920D983E2}"/>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0497CFE4-FEA0-67CB-BE7C-395F7CA652E9}"/>
              </a:ext>
            </a:extLst>
          </p:cNvPr>
          <p:cNvSpPr>
            <a:spLocks noGrp="1"/>
          </p:cNvSpPr>
          <p:nvPr>
            <p:ph type="title"/>
          </p:nvPr>
        </p:nvSpPr>
        <p:spPr>
          <a:xfrm>
            <a:off x="485523" y="345396"/>
            <a:ext cx="11224347" cy="470898"/>
          </a:xfrm>
        </p:spPr>
        <p:txBody>
          <a:bodyPr/>
          <a:lstStyle/>
          <a:p>
            <a:r>
              <a:rPr lang="en-IN" dirty="0"/>
              <a:t>Polling question 6</a:t>
            </a:r>
          </a:p>
        </p:txBody>
      </p:sp>
      <p:sp>
        <p:nvSpPr>
          <p:cNvPr id="6" name="Content Placeholder 7">
            <a:extLst>
              <a:ext uri="{FF2B5EF4-FFF2-40B4-BE49-F238E27FC236}">
                <a16:creationId xmlns:a16="http://schemas.microsoft.com/office/drawing/2014/main" id="{F1D6A8D7-135C-6B78-079E-BA724DE0616E}"/>
              </a:ext>
            </a:extLst>
          </p:cNvPr>
          <p:cNvSpPr txBox="1">
            <a:spLocks/>
          </p:cNvSpPr>
          <p:nvPr/>
        </p:nvSpPr>
        <p:spPr>
          <a:xfrm>
            <a:off x="487775" y="2442898"/>
            <a:ext cx="11224800" cy="2142745"/>
          </a:xfrm>
          <a:prstGeom prst="rect">
            <a:avLst/>
          </a:prstGeom>
        </p:spPr>
        <p:txBody>
          <a:bodyPr lIns="0" tIns="0" rIns="0" bIns="0"/>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457200" lvl="1" indent="-457200">
              <a:spcBef>
                <a:spcPts val="0"/>
              </a:spcBef>
              <a:spcAft>
                <a:spcPts val="1200"/>
              </a:spcAft>
              <a:buFont typeface="+mj-lt"/>
              <a:buAutoNum type="alphaLcPeriod"/>
            </a:pPr>
            <a:r>
              <a:rPr lang="en-IN" sz="2000" dirty="0">
                <a:solidFill>
                  <a:schemeClr val="lt1"/>
                </a:solidFill>
              </a:rPr>
              <a:t>Form 990, Schedule H, Worksheets 1–8 and supporting documentation</a:t>
            </a:r>
          </a:p>
          <a:p>
            <a:pPr marL="457200" lvl="1" indent="-457200">
              <a:spcBef>
                <a:spcPts val="0"/>
              </a:spcBef>
              <a:spcAft>
                <a:spcPts val="1200"/>
              </a:spcAft>
              <a:buFont typeface="+mj-lt"/>
              <a:buAutoNum type="alphaLcPeriod"/>
            </a:pPr>
            <a:r>
              <a:rPr lang="en-IN" sz="2000" dirty="0">
                <a:solidFill>
                  <a:schemeClr val="lt1"/>
                </a:solidFill>
              </a:rPr>
              <a:t>Patient complaints about financial assistance and billing and collections</a:t>
            </a:r>
          </a:p>
          <a:p>
            <a:pPr marL="457200" lvl="1" indent="-457200">
              <a:spcBef>
                <a:spcPts val="0"/>
              </a:spcBef>
              <a:spcAft>
                <a:spcPts val="1200"/>
              </a:spcAft>
              <a:buFont typeface="+mj-lt"/>
              <a:buAutoNum type="alphaLcPeriod"/>
            </a:pPr>
            <a:r>
              <a:rPr lang="en-IN" sz="2000" dirty="0">
                <a:solidFill>
                  <a:schemeClr val="lt1"/>
                </a:solidFill>
              </a:rPr>
              <a:t>A schedule of financial assistance applications filed during the year</a:t>
            </a:r>
          </a:p>
          <a:p>
            <a:pPr marL="457200" lvl="1" indent="-457200">
              <a:spcBef>
                <a:spcPts val="0"/>
              </a:spcBef>
              <a:spcAft>
                <a:spcPts val="1200"/>
              </a:spcAft>
              <a:buFont typeface="+mj-lt"/>
              <a:buAutoNum type="alphaLcPeriod"/>
            </a:pPr>
            <a:r>
              <a:rPr lang="en-IN" sz="2000" dirty="0">
                <a:solidFill>
                  <a:schemeClr val="lt1"/>
                </a:solidFill>
              </a:rPr>
              <a:t>All of the above</a:t>
            </a:r>
          </a:p>
        </p:txBody>
      </p:sp>
      <p:sp>
        <p:nvSpPr>
          <p:cNvPr id="7" name="Rectangle 6">
            <a:extLst>
              <a:ext uri="{FF2B5EF4-FFF2-40B4-BE49-F238E27FC236}">
                <a16:creationId xmlns:a16="http://schemas.microsoft.com/office/drawing/2014/main" id="{596D6831-CEC3-569E-F039-25ADAD607913}"/>
              </a:ext>
            </a:extLst>
          </p:cNvPr>
          <p:cNvSpPr>
            <a:spLocks/>
          </p:cNvSpPr>
          <p:nvPr/>
        </p:nvSpPr>
        <p:spPr>
          <a:xfrm>
            <a:off x="485523" y="1424450"/>
            <a:ext cx="11227052" cy="914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2E2E38"/>
                </a:solidFill>
              </a14:hiddenFill>
            </a:ext>
            <a:ext uri="{91240B29-F687-4F45-9708-019B960494DF}">
              <a14:hiddenLine xmlns:a14="http://schemas.microsoft.com/office/drawing/2010/main" w="12700" cap="flat" cmpd="sng" algn="ctr">
                <a:solidFill>
                  <a:srgbClr val="2E2E3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p>
            <a:r>
              <a:rPr lang="en-IN" sz="2400" b="1" dirty="0"/>
              <a:t>Which of the following items are often requested during a IRC Section 501(r) examination?</a:t>
            </a:r>
          </a:p>
        </p:txBody>
      </p:sp>
    </p:spTree>
    <p:extLst>
      <p:ext uri="{BB962C8B-B14F-4D97-AF65-F5344CB8AC3E}">
        <p14:creationId xmlns:p14="http://schemas.microsoft.com/office/powerpoint/2010/main" val="42634249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15F2E3-C76B-3F90-4602-6F6A440A804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0D2D231E-0F64-2613-2F65-F92A69B11404}"/>
              </a:ext>
            </a:extLst>
          </p:cNvPr>
          <p:cNvSpPr>
            <a:spLocks noGrp="1"/>
          </p:cNvSpPr>
          <p:nvPr>
            <p:ph type="title"/>
          </p:nvPr>
        </p:nvSpPr>
        <p:spPr>
          <a:xfrm>
            <a:off x="485775" y="1970406"/>
            <a:ext cx="7394575" cy="2869882"/>
          </a:xfrm>
        </p:spPr>
        <p:txBody>
          <a:bodyPr/>
          <a:lstStyle/>
          <a:p>
            <a:r>
              <a:rPr lang="en-IN" dirty="0"/>
              <a:t>Judicial and regulatory developments</a:t>
            </a:r>
          </a:p>
        </p:txBody>
      </p:sp>
    </p:spTree>
    <p:extLst>
      <p:ext uri="{BB962C8B-B14F-4D97-AF65-F5344CB8AC3E}">
        <p14:creationId xmlns:p14="http://schemas.microsoft.com/office/powerpoint/2010/main" val="325881098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F6A45B3-3029-B1AA-B08F-10735BF26DB9}"/>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E3F9952-C042-755C-C2A8-209C9F9FEF90}"/>
              </a:ext>
            </a:extLst>
          </p:cNvPr>
          <p:cNvGraphicFramePr>
            <a:graphicFrameLocks noChangeAspect="1"/>
          </p:cNvGraphicFramePr>
          <p:nvPr>
            <p:custDataLst>
              <p:tags r:id="rId2"/>
            </p:custDataLst>
            <p:extLst>
              <p:ext uri="{D42A27DB-BD31-4B8C-83A1-F6EECF244321}">
                <p14:modId xmlns:p14="http://schemas.microsoft.com/office/powerpoint/2010/main" val="2099138117"/>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BE3F9952-C042-755C-C2A8-209C9F9FEF90}"/>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86A805-EEB1-F591-5105-5DDF2D3A323A}"/>
              </a:ext>
            </a:extLst>
          </p:cNvPr>
          <p:cNvSpPr>
            <a:spLocks noGrp="1"/>
          </p:cNvSpPr>
          <p:nvPr>
            <p:ph type="title"/>
          </p:nvPr>
        </p:nvSpPr>
        <p:spPr>
          <a:xfrm>
            <a:off x="488949" y="346075"/>
            <a:ext cx="11223625" cy="469900"/>
          </a:xfrm>
        </p:spPr>
        <p:txBody>
          <a:bodyPr vert="horz"/>
          <a:lstStyle/>
          <a:p>
            <a:r>
              <a:rPr lang="en-IN" dirty="0"/>
              <a:t>Recent judicial developments involving IRS TE/GE</a:t>
            </a:r>
            <a:endParaRPr lang="en-US" dirty="0"/>
          </a:p>
        </p:txBody>
      </p:sp>
      <p:sp>
        <p:nvSpPr>
          <p:cNvPr id="3" name="Content Placeholder 2">
            <a:extLst>
              <a:ext uri="{FF2B5EF4-FFF2-40B4-BE49-F238E27FC236}">
                <a16:creationId xmlns:a16="http://schemas.microsoft.com/office/drawing/2014/main" id="{6F54D79B-D3B7-1118-8695-006AB90E63E8}"/>
              </a:ext>
            </a:extLst>
          </p:cNvPr>
          <p:cNvSpPr>
            <a:spLocks noGrp="1"/>
          </p:cNvSpPr>
          <p:nvPr>
            <p:ph type="body" sz="quarter" idx="4294967295"/>
          </p:nvPr>
        </p:nvSpPr>
        <p:spPr>
          <a:xfrm>
            <a:off x="479425" y="1424025"/>
            <a:ext cx="5394960" cy="4668799"/>
          </a:xfrm>
        </p:spPr>
        <p:txBody>
          <a:bodyPr/>
          <a:lstStyle/>
          <a:p>
            <a:pPr marL="365760" indent="-365760">
              <a:spcBef>
                <a:spcPts val="0"/>
              </a:spcBef>
              <a:spcAft>
                <a:spcPts val="600"/>
              </a:spcAft>
            </a:pPr>
            <a:r>
              <a:rPr lang="en-IN" sz="1800" i="1" dirty="0"/>
              <a:t>Loper Bright Enterprises v. Raimondo</a:t>
            </a:r>
            <a:r>
              <a:rPr lang="en-IN" sz="1800" dirty="0"/>
              <a:t> (603 US 369 (2024)):</a:t>
            </a:r>
          </a:p>
          <a:p>
            <a:pPr marL="731520" indent="-365760">
              <a:spcBef>
                <a:spcPts val="0"/>
              </a:spcBef>
              <a:spcAft>
                <a:spcPts val="600"/>
              </a:spcAft>
            </a:pPr>
            <a:r>
              <a:rPr lang="en-IN" sz="1800" dirty="0"/>
              <a:t>Under</a:t>
            </a:r>
            <a:r>
              <a:rPr lang="en-IN" sz="1800" i="1" dirty="0"/>
              <a:t> Chevron U.S.A., Inc. v. Natural Resources Defense Council, Inc.</a:t>
            </a:r>
            <a:r>
              <a:rPr lang="en-IN" sz="1800" dirty="0"/>
              <a:t> (467 US 837 (1984)), courts were sometimes required to defer to “permissible” agency interpretations of the statutes those agencies administer. </a:t>
            </a:r>
          </a:p>
          <a:p>
            <a:pPr marL="731520" indent="-365760">
              <a:spcBef>
                <a:spcPts val="0"/>
              </a:spcBef>
              <a:spcAft>
                <a:spcPts val="600"/>
              </a:spcAft>
            </a:pPr>
            <a:r>
              <a:rPr lang="en-IN" sz="1800" dirty="0"/>
              <a:t>In </a:t>
            </a:r>
            <a:r>
              <a:rPr lang="en-IN" sz="1800" i="1" dirty="0"/>
              <a:t>Loper Bright</a:t>
            </a:r>
            <a:r>
              <a:rPr lang="en-IN" sz="1800" dirty="0"/>
              <a:t>, the Supreme Court overruled </a:t>
            </a:r>
            <a:r>
              <a:rPr lang="en-IN" sz="1800" i="1" dirty="0"/>
              <a:t>Chevron</a:t>
            </a:r>
            <a:r>
              <a:rPr lang="en-IN" sz="1800" dirty="0"/>
              <a:t> and held that the Administrative Procedure Act requires courts to exercise their independent judgment in deciding whether an agency has acted within its statutory authority, and courts may not defer to an agency interpretation of the law simply because the statute is ambiguous.</a:t>
            </a:r>
          </a:p>
        </p:txBody>
      </p:sp>
      <p:pic>
        <p:nvPicPr>
          <p:cNvPr id="4" name="Picture 3">
            <a:extLst>
              <a:ext uri="{FF2B5EF4-FFF2-40B4-BE49-F238E27FC236}">
                <a16:creationId xmlns:a16="http://schemas.microsoft.com/office/drawing/2014/main" id="{6996B73F-55E8-56FC-CFD5-E7540D202672}"/>
              </a:ext>
            </a:extLst>
          </p:cNvPr>
          <p:cNvPicPr>
            <a:picLocks noChangeAspect="1"/>
          </p:cNvPicPr>
          <p:nvPr/>
        </p:nvPicPr>
        <p:blipFill>
          <a:blip r:embed="rId7"/>
          <a:srcRect l="10829" r="10829"/>
          <a:stretch/>
        </p:blipFill>
        <p:spPr>
          <a:xfrm>
            <a:off x="6226174" y="1424019"/>
            <a:ext cx="5486400" cy="4668805"/>
          </a:xfrm>
          <a:prstGeom prst="rect">
            <a:avLst/>
          </a:prstGeom>
        </p:spPr>
      </p:pic>
    </p:spTree>
    <p:extLst>
      <p:ext uri="{BB962C8B-B14F-4D97-AF65-F5344CB8AC3E}">
        <p14:creationId xmlns:p14="http://schemas.microsoft.com/office/powerpoint/2010/main" val="2414641744"/>
      </p:ext>
    </p:extLst>
  </p:cSld>
  <p:clrMapOvr>
    <a:overrideClrMapping bg1="lt1" tx1="dk1" bg2="lt2" tx2="dk2" accent1="accent1" accent2="accent2" accent3="accent3" accent4="accent4" accent5="accent5" accent6="accent6" hlink="hlink" folHlink="folHlink"/>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1E2BCA84-967C-5906-42C1-E30322F169A9}"/>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C3FAF62-F7D9-95ED-EAF8-9AF2CA1BC210}"/>
              </a:ext>
            </a:extLst>
          </p:cNvPr>
          <p:cNvGraphicFramePr>
            <a:graphicFrameLocks noChangeAspect="1"/>
          </p:cNvGraphicFramePr>
          <p:nvPr>
            <p:custDataLst>
              <p:tags r:id="rId2"/>
            </p:custDataLst>
            <p:extLst>
              <p:ext uri="{D42A27DB-BD31-4B8C-83A1-F6EECF244321}">
                <p14:modId xmlns:p14="http://schemas.microsoft.com/office/powerpoint/2010/main" val="3835278013"/>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3C3FAF62-F7D9-95ED-EAF8-9AF2CA1BC210}"/>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3F82166-B3FF-E1AC-2F5C-A03CF35B8937}"/>
              </a:ext>
            </a:extLst>
          </p:cNvPr>
          <p:cNvSpPr>
            <a:spLocks noGrp="1"/>
          </p:cNvSpPr>
          <p:nvPr>
            <p:ph type="title"/>
          </p:nvPr>
        </p:nvSpPr>
        <p:spPr>
          <a:xfrm>
            <a:off x="488949" y="346075"/>
            <a:ext cx="11223625" cy="469900"/>
          </a:xfrm>
        </p:spPr>
        <p:txBody>
          <a:bodyPr vert="horz"/>
          <a:lstStyle/>
          <a:p>
            <a:r>
              <a:rPr lang="en-IN" dirty="0"/>
              <a:t>Recent judicial developments involving IRS TE/GE (cont.)</a:t>
            </a:r>
            <a:endParaRPr lang="en-US" dirty="0"/>
          </a:p>
        </p:txBody>
      </p:sp>
      <p:sp>
        <p:nvSpPr>
          <p:cNvPr id="3" name="Content Placeholder 2">
            <a:extLst>
              <a:ext uri="{FF2B5EF4-FFF2-40B4-BE49-F238E27FC236}">
                <a16:creationId xmlns:a16="http://schemas.microsoft.com/office/drawing/2014/main" id="{5E64C1BD-67A2-9BD0-0371-AF3294DA0804}"/>
              </a:ext>
            </a:extLst>
          </p:cNvPr>
          <p:cNvSpPr>
            <a:spLocks noGrp="1"/>
          </p:cNvSpPr>
          <p:nvPr>
            <p:ph type="body" sz="quarter" idx="4294967295"/>
          </p:nvPr>
        </p:nvSpPr>
        <p:spPr>
          <a:xfrm>
            <a:off x="479425" y="1424025"/>
            <a:ext cx="11233150" cy="4668799"/>
          </a:xfrm>
        </p:spPr>
        <p:txBody>
          <a:bodyPr/>
          <a:lstStyle/>
          <a:p>
            <a:pPr marL="0" indent="0">
              <a:spcBef>
                <a:spcPts val="0"/>
              </a:spcBef>
              <a:spcAft>
                <a:spcPts val="600"/>
              </a:spcAft>
              <a:buNone/>
            </a:pPr>
            <a:r>
              <a:rPr lang="en-IN" sz="1800" i="1" dirty="0"/>
              <a:t>Memorial Hermann Accountable Care Org. v. Commissioner </a:t>
            </a:r>
            <a:r>
              <a:rPr lang="en-IN" sz="1800" dirty="0"/>
              <a:t>(5th Cir., 10/28/2024) (No. 23-60608):</a:t>
            </a:r>
          </a:p>
          <a:p>
            <a:pPr marL="365760" indent="-365760">
              <a:spcBef>
                <a:spcPts val="0"/>
              </a:spcBef>
              <a:spcAft>
                <a:spcPts val="600"/>
              </a:spcAft>
            </a:pPr>
            <a:r>
              <a:rPr lang="en-IN" sz="1800" dirty="0"/>
              <a:t>Memorial Hermann Accountable Care Organization (MHACO) appealed the IRS denial of its application for exempt status under IRC Section 501(c)(4). </a:t>
            </a:r>
          </a:p>
          <a:p>
            <a:pPr marL="365760" indent="-365760">
              <a:spcBef>
                <a:spcPts val="0"/>
              </a:spcBef>
              <a:spcAft>
                <a:spcPts val="600"/>
              </a:spcAft>
            </a:pPr>
            <a:r>
              <a:rPr lang="en-IN" sz="1800" dirty="0"/>
              <a:t>IRS concluded that:</a:t>
            </a:r>
          </a:p>
          <a:p>
            <a:pPr marL="731520" indent="-365760">
              <a:spcBef>
                <a:spcPts val="0"/>
              </a:spcBef>
              <a:spcAft>
                <a:spcPts val="600"/>
              </a:spcAft>
            </a:pPr>
            <a:r>
              <a:rPr lang="en-IN" sz="1800" dirty="0"/>
              <a:t>Non-Medicare Shared Saving Program (MSSP) activities were </a:t>
            </a:r>
            <a:r>
              <a:rPr lang="en-IN" sz="1800" dirty="0" err="1"/>
              <a:t>MHACO’s</a:t>
            </a:r>
            <a:r>
              <a:rPr lang="en-IN" sz="1800" dirty="0"/>
              <a:t> primary activities, based on its member mix and revenue.</a:t>
            </a:r>
          </a:p>
          <a:p>
            <a:pPr marL="731520" indent="-365760">
              <a:spcBef>
                <a:spcPts val="0"/>
              </a:spcBef>
              <a:spcAft>
                <a:spcPts val="600"/>
              </a:spcAft>
            </a:pPr>
            <a:r>
              <a:rPr lang="en-IN" sz="1800" dirty="0" err="1"/>
              <a:t>MHACO’s</a:t>
            </a:r>
            <a:r>
              <a:rPr lang="en-IN" sz="1800" dirty="0"/>
              <a:t> non-MSSP activities primarily benefit </a:t>
            </a:r>
            <a:r>
              <a:rPr lang="en-IN" sz="1800" dirty="0" err="1"/>
              <a:t>MHACO’s</a:t>
            </a:r>
            <a:r>
              <a:rPr lang="en-IN" sz="1800" dirty="0"/>
              <a:t> member patients, commercial payers and providers.</a:t>
            </a:r>
          </a:p>
          <a:p>
            <a:pPr marL="365760" indent="-365760">
              <a:spcBef>
                <a:spcPts val="0"/>
              </a:spcBef>
              <a:spcAft>
                <a:spcPts val="600"/>
              </a:spcAft>
            </a:pPr>
            <a:r>
              <a:rPr lang="en-IN" sz="1800" dirty="0"/>
              <a:t>The Tax Court agreed with the IRS:</a:t>
            </a:r>
          </a:p>
          <a:p>
            <a:pPr marL="731520" indent="-365760">
              <a:spcBef>
                <a:spcPts val="0"/>
              </a:spcBef>
              <a:spcAft>
                <a:spcPts val="600"/>
              </a:spcAft>
            </a:pPr>
            <a:r>
              <a:rPr lang="en-IN" sz="1800" dirty="0"/>
              <a:t>Did not consider which MHACO activities (e.g., MSSP vs. non-MSSP, patient vs. non-patient) were primary</a:t>
            </a:r>
          </a:p>
          <a:p>
            <a:pPr marL="731520" indent="-365760">
              <a:spcBef>
                <a:spcPts val="0"/>
              </a:spcBef>
              <a:spcAft>
                <a:spcPts val="600"/>
              </a:spcAft>
            </a:pPr>
            <a:r>
              <a:rPr lang="en-IN" sz="1800" dirty="0"/>
              <a:t>Did not consider the extent to which MHACO actually benefitted the community</a:t>
            </a:r>
          </a:p>
          <a:p>
            <a:pPr marL="731520" indent="-365760">
              <a:spcBef>
                <a:spcPts val="0"/>
              </a:spcBef>
              <a:spcAft>
                <a:spcPts val="600"/>
              </a:spcAft>
            </a:pPr>
            <a:r>
              <a:rPr lang="en-IN" sz="1800" dirty="0"/>
              <a:t>Denied IRC Section 501(c)(4) status based on the ACO’s “substantial </a:t>
            </a:r>
            <a:r>
              <a:rPr lang="en-IN" sz="1800" dirty="0" err="1"/>
              <a:t>nonexempt</a:t>
            </a:r>
            <a:r>
              <a:rPr lang="en-IN" sz="1800" dirty="0"/>
              <a:t> purpose” of benefiting health care providers and payers (insurance companies)</a:t>
            </a:r>
          </a:p>
        </p:txBody>
      </p:sp>
    </p:spTree>
    <p:extLst>
      <p:ext uri="{BB962C8B-B14F-4D97-AF65-F5344CB8AC3E}">
        <p14:creationId xmlns:p14="http://schemas.microsoft.com/office/powerpoint/2010/main" val="2219809484"/>
      </p:ext>
    </p:extLst>
  </p:cSld>
  <p:clrMapOvr>
    <a:overrideClrMapping bg1="lt1" tx1="dk1" bg2="lt2" tx2="dk2" accent1="accent1" accent2="accent2" accent3="accent3" accent4="accent4" accent5="accent5" accent6="accent6" hlink="hlink" folHlink="folHlink"/>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4E049DAE-C0D5-FE25-9285-406866DFD7EC}"/>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1BAA80D-6177-39F1-81C8-C84922FA3977}"/>
              </a:ext>
            </a:extLst>
          </p:cNvPr>
          <p:cNvGraphicFramePr>
            <a:graphicFrameLocks noChangeAspect="1"/>
          </p:cNvGraphicFramePr>
          <p:nvPr>
            <p:custDataLst>
              <p:tags r:id="rId2"/>
            </p:custDataLst>
            <p:extLst>
              <p:ext uri="{D42A27DB-BD31-4B8C-83A1-F6EECF244321}">
                <p14:modId xmlns:p14="http://schemas.microsoft.com/office/powerpoint/2010/main" val="3724674954"/>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21BAA80D-6177-39F1-81C8-C84922FA3977}"/>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9D8B808-018C-3D50-6DB2-0C1E07EB41B3}"/>
              </a:ext>
            </a:extLst>
          </p:cNvPr>
          <p:cNvSpPr>
            <a:spLocks noGrp="1"/>
          </p:cNvSpPr>
          <p:nvPr>
            <p:ph type="title"/>
          </p:nvPr>
        </p:nvSpPr>
        <p:spPr>
          <a:xfrm>
            <a:off x="488949" y="346075"/>
            <a:ext cx="11223625" cy="469900"/>
          </a:xfrm>
        </p:spPr>
        <p:txBody>
          <a:bodyPr vert="horz"/>
          <a:lstStyle/>
          <a:p>
            <a:r>
              <a:rPr lang="en-US" dirty="0"/>
              <a:t>Recent judicial developments involving IRS </a:t>
            </a:r>
            <a:r>
              <a:rPr lang="en-US" dirty="0" err="1"/>
              <a:t>TE</a:t>
            </a:r>
            <a:r>
              <a:rPr lang="en-US" dirty="0"/>
              <a:t>/GE (cont.)</a:t>
            </a:r>
          </a:p>
        </p:txBody>
      </p:sp>
      <p:sp>
        <p:nvSpPr>
          <p:cNvPr id="3" name="Content Placeholder 2">
            <a:extLst>
              <a:ext uri="{FF2B5EF4-FFF2-40B4-BE49-F238E27FC236}">
                <a16:creationId xmlns:a16="http://schemas.microsoft.com/office/drawing/2014/main" id="{A3DADBAD-C0E0-6FFC-F2BC-DABEDFD18ED8}"/>
              </a:ext>
            </a:extLst>
          </p:cNvPr>
          <p:cNvSpPr>
            <a:spLocks noGrp="1"/>
          </p:cNvSpPr>
          <p:nvPr>
            <p:ph type="body" sz="quarter" idx="4294967295"/>
          </p:nvPr>
        </p:nvSpPr>
        <p:spPr>
          <a:xfrm>
            <a:off x="479425" y="1424025"/>
            <a:ext cx="11233150" cy="4668799"/>
          </a:xfrm>
        </p:spPr>
        <p:txBody>
          <a:bodyPr/>
          <a:lstStyle/>
          <a:p>
            <a:pPr marL="0" indent="0">
              <a:spcBef>
                <a:spcPts val="0"/>
              </a:spcBef>
              <a:spcAft>
                <a:spcPts val="600"/>
              </a:spcAft>
              <a:buNone/>
            </a:pPr>
            <a:r>
              <a:rPr lang="en-US" sz="1800" i="1" dirty="0"/>
              <a:t>Memorial Hermann Accountable Care Org. v. Commissioner </a:t>
            </a:r>
            <a:r>
              <a:rPr lang="en-US" sz="1800" dirty="0"/>
              <a:t>(5th Cir., 10/28/2024) (No. 23-60608) (cont.):</a:t>
            </a:r>
          </a:p>
          <a:p>
            <a:pPr marL="365760" indent="-365760">
              <a:spcBef>
                <a:spcPts val="0"/>
              </a:spcBef>
              <a:spcAft>
                <a:spcPts val="600"/>
              </a:spcAft>
            </a:pPr>
            <a:r>
              <a:rPr lang="en-US" sz="1800" dirty="0"/>
              <a:t>The 5th Circuit:</a:t>
            </a:r>
          </a:p>
          <a:p>
            <a:pPr marL="731520" indent="-365760">
              <a:spcBef>
                <a:spcPts val="0"/>
              </a:spcBef>
              <a:spcAft>
                <a:spcPts val="600"/>
              </a:spcAft>
            </a:pPr>
            <a:r>
              <a:rPr lang="en-US" sz="1800" dirty="0"/>
              <a:t>On October 28, 2024, affirmed the Tax Court’s decision (i.e., held in favor of the IRS)</a:t>
            </a:r>
          </a:p>
          <a:p>
            <a:pPr marL="731520" indent="-365760">
              <a:spcBef>
                <a:spcPts val="0"/>
              </a:spcBef>
              <a:spcAft>
                <a:spcPts val="600"/>
              </a:spcAft>
            </a:pPr>
            <a:r>
              <a:rPr lang="en-US" sz="1800" dirty="0"/>
              <a:t>Cited </a:t>
            </a:r>
            <a:r>
              <a:rPr lang="en-US" sz="1800" i="1" dirty="0"/>
              <a:t>Loper Bright </a:t>
            </a:r>
            <a:r>
              <a:rPr lang="en-US" sz="1800" dirty="0"/>
              <a:t>and refused to give deference to the IRC Section 501(c)(4) regulations, which require that a 501(c)(4) organization be primarily engaged in promoting social welfare, but do not prohibit the organization from furthering a substantial non-exempt purpose</a:t>
            </a:r>
          </a:p>
          <a:p>
            <a:pPr marL="731520" indent="-365760">
              <a:spcBef>
                <a:spcPts val="0"/>
              </a:spcBef>
              <a:spcAft>
                <a:spcPts val="600"/>
              </a:spcAft>
            </a:pPr>
            <a:r>
              <a:rPr lang="en-US" sz="1800" dirty="0"/>
              <a:t>Agreed with the Tax Court’s application of the substantial nonexempt purpose test set forth in </a:t>
            </a:r>
            <a:r>
              <a:rPr lang="en-US" sz="1800" i="1" dirty="0"/>
              <a:t>Better</a:t>
            </a:r>
            <a:r>
              <a:rPr lang="en-US" sz="1800" dirty="0"/>
              <a:t> </a:t>
            </a:r>
            <a:r>
              <a:rPr lang="en-US" sz="1800" i="1" dirty="0"/>
              <a:t>Business Bureau of Washington D.C. v. United States</a:t>
            </a:r>
            <a:r>
              <a:rPr lang="en-US" sz="1800" dirty="0"/>
              <a:t> (326 US 279, 283 (1945)), even though the Supreme Court applied that test to determine tax-exempt qualification under IRC Section 501(c)(3), not 501(c)(4)</a:t>
            </a:r>
          </a:p>
          <a:p>
            <a:pPr marL="731520" indent="-365760">
              <a:spcBef>
                <a:spcPts val="0"/>
              </a:spcBef>
              <a:spcAft>
                <a:spcPts val="600"/>
              </a:spcAft>
            </a:pPr>
            <a:r>
              <a:rPr lang="en-US" sz="1800" dirty="0"/>
              <a:t>Determined that accountable care organization (ACO) generated too much private benefit and too little public benefit </a:t>
            </a:r>
          </a:p>
          <a:p>
            <a:pPr marL="731520" indent="-365760">
              <a:spcBef>
                <a:spcPts val="0"/>
              </a:spcBef>
              <a:spcAft>
                <a:spcPts val="600"/>
              </a:spcAft>
            </a:pPr>
            <a:r>
              <a:rPr lang="en-US" sz="1800" dirty="0"/>
              <a:t>Stated that if </a:t>
            </a:r>
            <a:r>
              <a:rPr lang="en-US" sz="1800" dirty="0" err="1"/>
              <a:t>MHACO’s</a:t>
            </a:r>
            <a:r>
              <a:rPr lang="en-US" sz="1800" dirty="0"/>
              <a:t> operations generated health care cost savings, then that revenue would flow to insurance companies, private providers and payers, rather than to the broader Houston community</a:t>
            </a:r>
          </a:p>
        </p:txBody>
      </p:sp>
    </p:spTree>
    <p:extLst>
      <p:ext uri="{BB962C8B-B14F-4D97-AF65-F5344CB8AC3E}">
        <p14:creationId xmlns:p14="http://schemas.microsoft.com/office/powerpoint/2010/main" val="3084294668"/>
      </p:ext>
    </p:extLst>
  </p:cSld>
  <p:clrMapOvr>
    <a:overrideClrMapping bg1="lt1" tx1="dk1" bg2="lt2" tx2="dk2" accent1="accent1" accent2="accent2" accent3="accent3" accent4="accent4" accent5="accent5" accent6="accent6" hlink="hlink" folHlink="folHlink"/>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18C853D1-AF96-A067-C528-5AC40ACC4928}"/>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06A047E-7232-800F-DB77-49943F1D1263}"/>
              </a:ext>
            </a:extLst>
          </p:cNvPr>
          <p:cNvGraphicFramePr>
            <a:graphicFrameLocks noChangeAspect="1"/>
          </p:cNvGraphicFramePr>
          <p:nvPr>
            <p:custDataLst>
              <p:tags r:id="rId2"/>
            </p:custDataLst>
            <p:extLst>
              <p:ext uri="{D42A27DB-BD31-4B8C-83A1-F6EECF244321}">
                <p14:modId xmlns:p14="http://schemas.microsoft.com/office/powerpoint/2010/main" val="291361441"/>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B06A047E-7232-800F-DB77-49943F1D1263}"/>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BC9C07-3B32-3CB2-9E5A-71776961D1DE}"/>
              </a:ext>
            </a:extLst>
          </p:cNvPr>
          <p:cNvSpPr>
            <a:spLocks noGrp="1"/>
          </p:cNvSpPr>
          <p:nvPr>
            <p:ph type="title"/>
          </p:nvPr>
        </p:nvSpPr>
        <p:spPr>
          <a:xfrm>
            <a:off x="488949" y="346075"/>
            <a:ext cx="11223625" cy="469900"/>
          </a:xfrm>
        </p:spPr>
        <p:txBody>
          <a:bodyPr vert="horz"/>
          <a:lstStyle/>
          <a:p>
            <a:r>
              <a:rPr lang="en-IN" dirty="0"/>
              <a:t>Recent judicial developments involving IRS TE/GE (cont.)</a:t>
            </a:r>
            <a:endParaRPr lang="en-US" dirty="0"/>
          </a:p>
        </p:txBody>
      </p:sp>
      <p:sp>
        <p:nvSpPr>
          <p:cNvPr id="3" name="Content Placeholder 2">
            <a:extLst>
              <a:ext uri="{FF2B5EF4-FFF2-40B4-BE49-F238E27FC236}">
                <a16:creationId xmlns:a16="http://schemas.microsoft.com/office/drawing/2014/main" id="{D6CF729F-A5E7-4E3B-3D9A-735356447627}"/>
              </a:ext>
            </a:extLst>
          </p:cNvPr>
          <p:cNvSpPr>
            <a:spLocks noGrp="1"/>
          </p:cNvSpPr>
          <p:nvPr>
            <p:ph type="body" sz="quarter" idx="4294967295"/>
          </p:nvPr>
        </p:nvSpPr>
        <p:spPr>
          <a:xfrm>
            <a:off x="479425" y="1424025"/>
            <a:ext cx="11233150" cy="4668799"/>
          </a:xfrm>
        </p:spPr>
        <p:txBody>
          <a:bodyPr/>
          <a:lstStyle/>
          <a:p>
            <a:pPr marL="0" indent="0">
              <a:spcBef>
                <a:spcPts val="0"/>
              </a:spcBef>
              <a:spcAft>
                <a:spcPts val="600"/>
              </a:spcAft>
              <a:buNone/>
            </a:pPr>
            <a:r>
              <a:rPr lang="en-IN" sz="1800" i="1" dirty="0"/>
              <a:t>Mayo Clinic v. United States</a:t>
            </a:r>
            <a:r>
              <a:rPr lang="en-IN" sz="1800" dirty="0"/>
              <a:t> (8th Cir., case No. 0:16-cv-03113-JNE-KMM):</a:t>
            </a:r>
          </a:p>
          <a:p>
            <a:pPr marL="365760" indent="-365760">
              <a:spcBef>
                <a:spcPts val="0"/>
              </a:spcBef>
              <a:spcAft>
                <a:spcPts val="600"/>
              </a:spcAft>
            </a:pPr>
            <a:r>
              <a:rPr lang="en-IN" sz="1800" dirty="0"/>
              <a:t>The US District Court (MN) held that Mayo Clinic is a qualified educational organization, pursuant to IRC Section 170(b)(1)(A)(ii), and therefore qualifies for an unrelated business taxable income (UBTI) exception under IRC Section 514(c)(9) for income from certain debt-financed real property.</a:t>
            </a:r>
          </a:p>
          <a:p>
            <a:pPr marL="365760" indent="-365760">
              <a:spcBef>
                <a:spcPts val="0"/>
              </a:spcBef>
              <a:spcAft>
                <a:spcPts val="600"/>
              </a:spcAft>
            </a:pPr>
            <a:r>
              <a:rPr lang="en-IN" sz="1800" dirty="0"/>
              <a:t>The District Court determined Mayo Clinic’s primary purpose is educational and that its patient care services and research activities serve this educational purpose. It also determined that Treasury regulations defining educational organizations are overbroad.</a:t>
            </a:r>
          </a:p>
          <a:p>
            <a:pPr marL="365760" indent="-365760">
              <a:spcBef>
                <a:spcPts val="0"/>
              </a:spcBef>
              <a:spcAft>
                <a:spcPts val="600"/>
              </a:spcAft>
            </a:pPr>
            <a:r>
              <a:rPr lang="en-IN" sz="1800" dirty="0"/>
              <a:t>On appeal, the 8th Circuit invalidated the Treas. Reg. 1.170A-9(c)(1) requirement that an educational organization’s primary function must be to provide formal instruction, but upheld its requirement that the primary purpose of the organization must be educational:</a:t>
            </a:r>
          </a:p>
          <a:p>
            <a:pPr marL="731520" indent="-365760">
              <a:spcBef>
                <a:spcPts val="0"/>
              </a:spcBef>
              <a:spcAft>
                <a:spcPts val="600"/>
              </a:spcAft>
            </a:pPr>
            <a:r>
              <a:rPr lang="en-IN" sz="1800" dirty="0"/>
              <a:t>The 8th Circuit remanded the case to the MN District Court to determine whether Mayo Clinic met this primary purpose requirement. </a:t>
            </a:r>
          </a:p>
          <a:p>
            <a:pPr marL="365760" indent="-365760">
              <a:spcBef>
                <a:spcPts val="0"/>
              </a:spcBef>
              <a:spcAft>
                <a:spcPts val="600"/>
              </a:spcAft>
            </a:pPr>
            <a:r>
              <a:rPr lang="en-IN" sz="1800" dirty="0"/>
              <a:t>In IRB 2021-47, the IRS refused to acquiesce in the 8th Circuit Mayo Clinic ruling’s partial invalidation of the “educational organization” definition in Treas. Reg. 1.170A-9(c)(1):</a:t>
            </a:r>
          </a:p>
          <a:p>
            <a:pPr marL="731520" indent="-365760">
              <a:spcBef>
                <a:spcPts val="0"/>
              </a:spcBef>
              <a:spcAft>
                <a:spcPts val="600"/>
              </a:spcAft>
            </a:pPr>
            <a:r>
              <a:rPr lang="en-IN" sz="1800" dirty="0"/>
              <a:t>IRS is only required to follow 8th Circuit’s ruling in the 8th Circuit, not in other jurisdictions.</a:t>
            </a:r>
          </a:p>
        </p:txBody>
      </p:sp>
    </p:spTree>
    <p:extLst>
      <p:ext uri="{BB962C8B-B14F-4D97-AF65-F5344CB8AC3E}">
        <p14:creationId xmlns:p14="http://schemas.microsoft.com/office/powerpoint/2010/main" val="1911596616"/>
      </p:ext>
    </p:extLst>
  </p:cSld>
  <p:clrMapOvr>
    <a:overrideClrMapping bg1="lt1" tx1="dk1" bg2="lt2" tx2="dk2" accent1="accent1" accent2="accent2" accent3="accent3" accent4="accent4" accent5="accent5" accent6="accent6" hlink="hlink" folHlink="folHlink"/>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00B51C10-2707-F910-BB4A-A07314647EE8}"/>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BDC54C4-FEBA-60F7-649A-ECA66DE8DB85}"/>
              </a:ext>
            </a:extLst>
          </p:cNvPr>
          <p:cNvGraphicFramePr>
            <a:graphicFrameLocks noChangeAspect="1"/>
          </p:cNvGraphicFramePr>
          <p:nvPr>
            <p:custDataLst>
              <p:tags r:id="rId2"/>
            </p:custDataLst>
            <p:extLst>
              <p:ext uri="{D42A27DB-BD31-4B8C-83A1-F6EECF244321}">
                <p14:modId xmlns:p14="http://schemas.microsoft.com/office/powerpoint/2010/main" val="1388053279"/>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4BDC54C4-FEBA-60F7-649A-ECA66DE8DB85}"/>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160AED1-826F-EE4C-37D9-27CECFC8DD7E}"/>
              </a:ext>
            </a:extLst>
          </p:cNvPr>
          <p:cNvSpPr>
            <a:spLocks noGrp="1"/>
          </p:cNvSpPr>
          <p:nvPr>
            <p:ph type="title"/>
          </p:nvPr>
        </p:nvSpPr>
        <p:spPr>
          <a:xfrm>
            <a:off x="488949" y="346075"/>
            <a:ext cx="11223625" cy="469900"/>
          </a:xfrm>
        </p:spPr>
        <p:txBody>
          <a:bodyPr vert="horz"/>
          <a:lstStyle/>
          <a:p>
            <a:r>
              <a:rPr lang="en-IN" dirty="0"/>
              <a:t>Recent judicial developments involving IRS TE/GE (cont.)</a:t>
            </a:r>
            <a:endParaRPr lang="en-US" dirty="0"/>
          </a:p>
        </p:txBody>
      </p:sp>
      <p:sp>
        <p:nvSpPr>
          <p:cNvPr id="3" name="Content Placeholder 2">
            <a:extLst>
              <a:ext uri="{FF2B5EF4-FFF2-40B4-BE49-F238E27FC236}">
                <a16:creationId xmlns:a16="http://schemas.microsoft.com/office/drawing/2014/main" id="{A1BB7A53-105A-D7DF-2138-A3B8203C8735}"/>
              </a:ext>
            </a:extLst>
          </p:cNvPr>
          <p:cNvSpPr>
            <a:spLocks noGrp="1"/>
          </p:cNvSpPr>
          <p:nvPr>
            <p:ph type="body" sz="quarter" idx="4294967295"/>
          </p:nvPr>
        </p:nvSpPr>
        <p:spPr>
          <a:xfrm>
            <a:off x="479425" y="1424025"/>
            <a:ext cx="11233150" cy="4668799"/>
          </a:xfrm>
        </p:spPr>
        <p:txBody>
          <a:bodyPr/>
          <a:lstStyle/>
          <a:p>
            <a:pPr marL="0" indent="0">
              <a:spcBef>
                <a:spcPts val="0"/>
              </a:spcBef>
              <a:spcAft>
                <a:spcPts val="600"/>
              </a:spcAft>
              <a:buNone/>
            </a:pPr>
            <a:r>
              <a:rPr lang="en-IN" sz="1800" i="1" dirty="0"/>
              <a:t>Mayo Clinic v. United States </a:t>
            </a:r>
            <a:r>
              <a:rPr lang="en-IN" sz="1800" dirty="0"/>
              <a:t>(8th Cir., case No. 0:16-cv-03113-JNE-KMM) (cont.):</a:t>
            </a:r>
          </a:p>
          <a:p>
            <a:pPr marL="365760" indent="-365760">
              <a:spcBef>
                <a:spcPts val="0"/>
              </a:spcBef>
              <a:spcAft>
                <a:spcPts val="600"/>
              </a:spcAft>
            </a:pPr>
            <a:r>
              <a:rPr lang="en-IN" sz="1800" dirty="0"/>
              <a:t>On remand, the MN District Court determined that Mayo Clinic’s primary purpose is educational.</a:t>
            </a:r>
          </a:p>
          <a:p>
            <a:pPr marL="365760" indent="-365760">
              <a:spcBef>
                <a:spcPts val="0"/>
              </a:spcBef>
              <a:spcAft>
                <a:spcPts val="600"/>
              </a:spcAft>
            </a:pPr>
            <a:r>
              <a:rPr lang="en-IN" sz="1800" dirty="0"/>
              <a:t>The United States appealed the MN District Court ruling to the 8th Circuit on the theory that the District Court made a legal error, that patient care is a “substantial non-educational” purpose, and thus Mayo clinic is not an educational organization: </a:t>
            </a:r>
          </a:p>
          <a:p>
            <a:pPr marL="731520" indent="-365760">
              <a:spcBef>
                <a:spcPts val="0"/>
              </a:spcBef>
              <a:spcAft>
                <a:spcPts val="600"/>
              </a:spcAft>
            </a:pPr>
            <a:r>
              <a:rPr lang="en-IN" sz="1800" dirty="0"/>
              <a:t>The United States filed its opening brief on September 1, 2023.</a:t>
            </a:r>
          </a:p>
          <a:p>
            <a:pPr marL="731520" indent="-365760">
              <a:spcBef>
                <a:spcPts val="0"/>
              </a:spcBef>
              <a:spcAft>
                <a:spcPts val="600"/>
              </a:spcAft>
            </a:pPr>
            <a:r>
              <a:rPr lang="en-IN" sz="1800" dirty="0"/>
              <a:t>Mayo Clinic filed its response brief in early November 2023. </a:t>
            </a:r>
          </a:p>
          <a:p>
            <a:pPr marL="365760" indent="-365760">
              <a:spcBef>
                <a:spcPts val="0"/>
              </a:spcBef>
              <a:spcAft>
                <a:spcPts val="600"/>
              </a:spcAft>
            </a:pPr>
            <a:r>
              <a:rPr lang="en-IN" sz="1800" dirty="0"/>
              <a:t>The 8th Circuit heard oral arguments on October 24, 2024 (notably after </a:t>
            </a:r>
            <a:r>
              <a:rPr lang="en-IN" sz="1800" i="1" dirty="0"/>
              <a:t>Loper Bright </a:t>
            </a:r>
            <a:r>
              <a:rPr lang="en-IN" sz="1800" dirty="0"/>
              <a:t>decision):</a:t>
            </a:r>
          </a:p>
          <a:p>
            <a:pPr marL="731520" indent="-365760">
              <a:spcBef>
                <a:spcPts val="0"/>
              </a:spcBef>
              <a:spcAft>
                <a:spcPts val="600"/>
              </a:spcAft>
            </a:pPr>
            <a:r>
              <a:rPr lang="en-IN" sz="1800" dirty="0"/>
              <a:t>The IRS asserted that Mayo Clinic has a substantial non-educational purpose (e.g., providing health care, conducting research), which makes it ineligible for the UBTI exception, citing </a:t>
            </a:r>
            <a:r>
              <a:rPr lang="en-IN" sz="1800" i="1" dirty="0"/>
              <a:t>Better Business Bureau</a:t>
            </a:r>
            <a:r>
              <a:rPr lang="en-IN" sz="1800" dirty="0"/>
              <a:t>.</a:t>
            </a:r>
          </a:p>
          <a:p>
            <a:pPr marL="731520" indent="-365760">
              <a:spcBef>
                <a:spcPts val="0"/>
              </a:spcBef>
              <a:spcAft>
                <a:spcPts val="600"/>
              </a:spcAft>
            </a:pPr>
            <a:r>
              <a:rPr lang="en-IN" sz="1800" dirty="0"/>
              <a:t>Mayo Clinic cited the District Court’s conclusion that Mayo Clinic was organized and operated exclusively for educational purposes.</a:t>
            </a:r>
          </a:p>
        </p:txBody>
      </p:sp>
    </p:spTree>
    <p:extLst>
      <p:ext uri="{BB962C8B-B14F-4D97-AF65-F5344CB8AC3E}">
        <p14:creationId xmlns:p14="http://schemas.microsoft.com/office/powerpoint/2010/main" val="1875185339"/>
      </p:ext>
    </p:extLst>
  </p:cSld>
  <p:clrMapOvr>
    <a:overrideClrMapping bg1="lt1" tx1="dk1" bg2="lt2" tx2="dk2" accent1="accent1" accent2="accent2" accent3="accent3" accent4="accent4" accent5="accent5" accent6="accent6" hlink="hlink" folHlink="folHlink"/>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ADED5103-3828-BD7E-4ABB-65BA7EEE65EE}"/>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F1B0F7-26FC-E10F-EC41-49CF7559C10A}"/>
              </a:ext>
            </a:extLst>
          </p:cNvPr>
          <p:cNvGraphicFramePr>
            <a:graphicFrameLocks noChangeAspect="1"/>
          </p:cNvGraphicFramePr>
          <p:nvPr>
            <p:custDataLst>
              <p:tags r:id="rId2"/>
            </p:custDataLst>
            <p:extLst>
              <p:ext uri="{D42A27DB-BD31-4B8C-83A1-F6EECF244321}">
                <p14:modId xmlns:p14="http://schemas.microsoft.com/office/powerpoint/2010/main" val="2443840975"/>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7FF1B0F7-26FC-E10F-EC41-49CF7559C10A}"/>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6C8FE8A-92D1-242B-2A43-ED8DAB687A1A}"/>
              </a:ext>
            </a:extLst>
          </p:cNvPr>
          <p:cNvSpPr>
            <a:spLocks noGrp="1"/>
          </p:cNvSpPr>
          <p:nvPr>
            <p:ph type="title"/>
          </p:nvPr>
        </p:nvSpPr>
        <p:spPr>
          <a:xfrm>
            <a:off x="488949" y="346075"/>
            <a:ext cx="11223625" cy="469900"/>
          </a:xfrm>
        </p:spPr>
        <p:txBody>
          <a:bodyPr vert="horz"/>
          <a:lstStyle/>
          <a:p>
            <a:r>
              <a:rPr lang="en-IN" dirty="0"/>
              <a:t>Recent EY EO tax alerts on regulatory developments </a:t>
            </a:r>
            <a:endParaRPr lang="en-US" dirty="0"/>
          </a:p>
        </p:txBody>
      </p:sp>
      <p:sp>
        <p:nvSpPr>
          <p:cNvPr id="4" name="Content Placeholder 2">
            <a:extLst>
              <a:ext uri="{FF2B5EF4-FFF2-40B4-BE49-F238E27FC236}">
                <a16:creationId xmlns:a16="http://schemas.microsoft.com/office/drawing/2014/main" id="{EBE7CB78-3B4B-8861-5315-96022C1F16FE}"/>
              </a:ext>
            </a:extLst>
          </p:cNvPr>
          <p:cNvSpPr txBox="1">
            <a:spLocks/>
          </p:cNvSpPr>
          <p:nvPr/>
        </p:nvSpPr>
        <p:spPr>
          <a:xfrm>
            <a:off x="479424" y="1424026"/>
            <a:ext cx="11223625" cy="4014750"/>
          </a:xfrm>
          <a:prstGeom prst="rect">
            <a:avLst/>
          </a:prstGeom>
        </p:spPr>
        <p:txBody>
          <a:bodyPr numCol="2" spcCol="182880" anchor="t">
            <a:noAutofit/>
          </a:bodyPr>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365760" indent="-365760">
              <a:spcBef>
                <a:spcPts val="0"/>
              </a:spcBef>
              <a:spcAft>
                <a:spcPts val="600"/>
              </a:spcAft>
            </a:pPr>
            <a:r>
              <a:rPr lang="en-US" sz="1800" dirty="0"/>
              <a:t>FY2025 priorities for IRS Tax Exempt and Government Entities division provided in annual Priority Guidance Plan </a:t>
            </a:r>
            <a:r>
              <a:rPr lang="en-US" sz="1800" dirty="0">
                <a:solidFill>
                  <a:srgbClr val="FFE600"/>
                </a:solidFill>
                <a:hlinkClick r:id="rId7">
                  <a:extLst>
                    <a:ext uri="{A12FA001-AC4F-418D-AE19-62706E023703}">
                      <ahyp:hlinkClr xmlns:ahyp="http://schemas.microsoft.com/office/drawing/2018/hyperlinkcolor" val="tx"/>
                    </a:ext>
                  </a:extLst>
                </a:hlinkClick>
              </a:rPr>
              <a:t>(available here)</a:t>
            </a:r>
            <a:endParaRPr lang="en-US" sz="1800" dirty="0">
              <a:solidFill>
                <a:srgbClr val="FFE600"/>
              </a:solidFill>
            </a:endParaRPr>
          </a:p>
          <a:p>
            <a:pPr marL="365760" indent="-365760">
              <a:spcBef>
                <a:spcPts val="0"/>
              </a:spcBef>
              <a:spcAft>
                <a:spcPts val="600"/>
              </a:spcAft>
            </a:pPr>
            <a:r>
              <a:rPr lang="en-US" sz="1800" dirty="0"/>
              <a:t>Annual updates to exempt organization revenue procedures limit Form 1023-EZ filing eligibility, clarify application of IRC Section 4958 excise taxes to former IRC 501(c)(3) entities and increase private letter ruling request fee </a:t>
            </a:r>
            <a:r>
              <a:rPr lang="en-US" sz="1800" dirty="0">
                <a:solidFill>
                  <a:srgbClr val="FFE600"/>
                </a:solidFill>
              </a:rPr>
              <a:t>(</a:t>
            </a:r>
            <a:r>
              <a:rPr lang="en-US" sz="1800" dirty="0">
                <a:solidFill>
                  <a:srgbClr val="FFE600"/>
                </a:solidFill>
                <a:hlinkClick r:id="rId8">
                  <a:extLst>
                    <a:ext uri="{A12FA001-AC4F-418D-AE19-62706E023703}">
                      <ahyp:hlinkClr xmlns:ahyp="http://schemas.microsoft.com/office/drawing/2018/hyperlinkcolor" val="tx"/>
                    </a:ext>
                  </a:extLst>
                </a:hlinkClick>
              </a:rPr>
              <a:t>available here</a:t>
            </a:r>
            <a:r>
              <a:rPr lang="en-US" sz="1800" dirty="0">
                <a:solidFill>
                  <a:srgbClr val="FFE600"/>
                </a:solidFill>
              </a:rPr>
              <a:t>)</a:t>
            </a:r>
          </a:p>
          <a:p>
            <a:pPr marL="365760" indent="-365760">
              <a:spcBef>
                <a:spcPts val="0"/>
              </a:spcBef>
              <a:spcAft>
                <a:spcPts val="600"/>
              </a:spcAft>
            </a:pPr>
            <a:r>
              <a:rPr lang="en-US" sz="1800" dirty="0"/>
              <a:t>Corporate alternative minimum tax (CAMT) technical corrections address adjusted financial statement income (AFSI) adjustments for tax-exempt entities using the applicable corporation safe harbor </a:t>
            </a:r>
            <a:r>
              <a:rPr lang="en-US" sz="1800" dirty="0">
                <a:solidFill>
                  <a:srgbClr val="FFE600"/>
                </a:solidFill>
              </a:rPr>
              <a:t>(</a:t>
            </a:r>
            <a:r>
              <a:rPr lang="en-US" sz="1800" u="sng" dirty="0">
                <a:solidFill>
                  <a:srgbClr val="FFE600"/>
                </a:solidFill>
              </a:rPr>
              <a:t>a</a:t>
            </a:r>
            <a:r>
              <a:rPr lang="en-US" sz="1800" dirty="0">
                <a:solidFill>
                  <a:srgbClr val="FFE600"/>
                </a:solidFill>
                <a:hlinkClick r:id="rId9">
                  <a:extLst>
                    <a:ext uri="{A12FA001-AC4F-418D-AE19-62706E023703}">
                      <ahyp:hlinkClr xmlns:ahyp="http://schemas.microsoft.com/office/drawing/2018/hyperlinkcolor" val="tx"/>
                    </a:ext>
                  </a:extLst>
                </a:hlinkClick>
              </a:rPr>
              <a:t>vailable here</a:t>
            </a:r>
            <a:r>
              <a:rPr lang="en-US" sz="1800" dirty="0">
                <a:solidFill>
                  <a:srgbClr val="FFE600"/>
                </a:solidFill>
              </a:rPr>
              <a:t>)</a:t>
            </a:r>
          </a:p>
          <a:p>
            <a:pPr marL="365760" indent="-365760">
              <a:spcBef>
                <a:spcPts val="0"/>
              </a:spcBef>
              <a:spcAft>
                <a:spcPts val="600"/>
              </a:spcAft>
            </a:pPr>
            <a:r>
              <a:rPr lang="en-US" sz="1800" dirty="0"/>
              <a:t>Tax Court allows organization to withdraw petition for declaratory relief on application for exempt status </a:t>
            </a:r>
            <a:r>
              <a:rPr lang="en-US" sz="1800" dirty="0">
                <a:solidFill>
                  <a:srgbClr val="FFE600"/>
                </a:solidFill>
              </a:rPr>
              <a:t>(</a:t>
            </a:r>
            <a:r>
              <a:rPr lang="en-US" sz="1800" u="sng" dirty="0">
                <a:solidFill>
                  <a:srgbClr val="FFE600"/>
                </a:solidFill>
              </a:rPr>
              <a:t>a</a:t>
            </a:r>
            <a:r>
              <a:rPr lang="en-US" sz="1800" dirty="0">
                <a:solidFill>
                  <a:srgbClr val="FFE600"/>
                </a:solidFill>
                <a:hlinkClick r:id="rId10">
                  <a:extLst>
                    <a:ext uri="{A12FA001-AC4F-418D-AE19-62706E023703}">
                      <ahyp:hlinkClr xmlns:ahyp="http://schemas.microsoft.com/office/drawing/2018/hyperlinkcolor" val="tx"/>
                    </a:ext>
                  </a:extLst>
                </a:hlinkClick>
              </a:rPr>
              <a:t>vailable here</a:t>
            </a:r>
            <a:r>
              <a:rPr lang="en-US" sz="1800" dirty="0">
                <a:solidFill>
                  <a:srgbClr val="FFE600"/>
                </a:solidFill>
              </a:rPr>
              <a:t>)</a:t>
            </a:r>
          </a:p>
          <a:p>
            <a:pPr marL="365760" indent="-365760">
              <a:spcBef>
                <a:spcPts val="0"/>
              </a:spcBef>
              <a:spcAft>
                <a:spcPts val="600"/>
              </a:spcAft>
            </a:pPr>
            <a:r>
              <a:rPr lang="en-US" sz="1800" dirty="0"/>
              <a:t>Letter from Senators calls on IRS to increase oversight of nonprofit hospitals, suggests changes </a:t>
            </a:r>
            <a:r>
              <a:rPr lang="en-US" sz="1800" dirty="0">
                <a:solidFill>
                  <a:srgbClr val="FFE600"/>
                </a:solidFill>
              </a:rPr>
              <a:t>(</a:t>
            </a:r>
            <a:r>
              <a:rPr lang="en-US" sz="1800" u="sng" dirty="0">
                <a:solidFill>
                  <a:srgbClr val="FFE600"/>
                </a:solidFill>
              </a:rPr>
              <a:t>a</a:t>
            </a:r>
            <a:r>
              <a:rPr lang="en-US" sz="1800" dirty="0">
                <a:solidFill>
                  <a:srgbClr val="FFE600"/>
                </a:solidFill>
                <a:hlinkClick r:id="rId11">
                  <a:extLst>
                    <a:ext uri="{A12FA001-AC4F-418D-AE19-62706E023703}">
                      <ahyp:hlinkClr xmlns:ahyp="http://schemas.microsoft.com/office/drawing/2018/hyperlinkcolor" val="tx"/>
                    </a:ext>
                  </a:extLst>
                </a:hlinkClick>
              </a:rPr>
              <a:t>vailable here</a:t>
            </a:r>
            <a:r>
              <a:rPr lang="en-US" sz="1800" dirty="0">
                <a:solidFill>
                  <a:srgbClr val="FFE600"/>
                </a:solidFill>
              </a:rPr>
              <a:t>)</a:t>
            </a:r>
          </a:p>
          <a:p>
            <a:pPr marL="365760" indent="-365760">
              <a:spcBef>
                <a:spcPts val="0"/>
              </a:spcBef>
              <a:spcAft>
                <a:spcPts val="600"/>
              </a:spcAft>
            </a:pPr>
            <a:r>
              <a:rPr lang="en-US" sz="1800" dirty="0"/>
              <a:t>IRS provides automatic six-month extension and electronic filing relief for making elective payment elections for IRC Section 6417 energy credits on Form 990-T </a:t>
            </a:r>
            <a:r>
              <a:rPr lang="en-US" sz="1800" dirty="0">
                <a:solidFill>
                  <a:srgbClr val="FFE600"/>
                </a:solidFill>
              </a:rPr>
              <a:t>(</a:t>
            </a:r>
            <a:r>
              <a:rPr lang="en-US" sz="1800" u="sng" dirty="0">
                <a:solidFill>
                  <a:srgbClr val="FFE600"/>
                </a:solidFill>
              </a:rPr>
              <a:t>a</a:t>
            </a:r>
            <a:r>
              <a:rPr lang="en-US" sz="1800" dirty="0">
                <a:solidFill>
                  <a:srgbClr val="FFE600"/>
                </a:solidFill>
                <a:hlinkClick r:id="rId12">
                  <a:extLst>
                    <a:ext uri="{A12FA001-AC4F-418D-AE19-62706E023703}">
                      <ahyp:hlinkClr xmlns:ahyp="http://schemas.microsoft.com/office/drawing/2018/hyperlinkcolor" val="tx"/>
                    </a:ext>
                  </a:extLst>
                </a:hlinkClick>
              </a:rPr>
              <a:t>vailable </a:t>
            </a:r>
            <a:r>
              <a:rPr lang="en-US" sz="1800" u="sng" dirty="0">
                <a:solidFill>
                  <a:srgbClr val="FFE600"/>
                </a:solidFill>
              </a:rPr>
              <a:t>h</a:t>
            </a:r>
            <a:r>
              <a:rPr lang="en-US" sz="1800" dirty="0">
                <a:solidFill>
                  <a:srgbClr val="FFE600"/>
                </a:solidFill>
                <a:hlinkClick r:id="rId13">
                  <a:extLst>
                    <a:ext uri="{A12FA001-AC4F-418D-AE19-62706E023703}">
                      <ahyp:hlinkClr xmlns:ahyp="http://schemas.microsoft.com/office/drawing/2018/hyperlinkcolor" val="tx"/>
                    </a:ext>
                  </a:extLst>
                </a:hlinkClick>
              </a:rPr>
              <a:t>ere</a:t>
            </a:r>
            <a:r>
              <a:rPr lang="en-US" sz="1800" dirty="0">
                <a:solidFill>
                  <a:srgbClr val="FFE600"/>
                </a:solidFill>
              </a:rPr>
              <a:t>)</a:t>
            </a:r>
          </a:p>
          <a:p>
            <a:pPr marL="365760" indent="-365760">
              <a:spcBef>
                <a:spcPts val="0"/>
              </a:spcBef>
              <a:spcAft>
                <a:spcPts val="600"/>
              </a:spcAft>
            </a:pPr>
            <a:r>
              <a:rPr lang="en-US" sz="1800" dirty="0"/>
              <a:t>Grant from joint venture affiliate may be treated as unusual and won’t affect organization’s status as publicly supported </a:t>
            </a:r>
            <a:r>
              <a:rPr lang="en-US" sz="1800" dirty="0">
                <a:solidFill>
                  <a:srgbClr val="FFE600"/>
                </a:solidFill>
              </a:rPr>
              <a:t>(</a:t>
            </a:r>
            <a:r>
              <a:rPr lang="en-US" sz="1800" u="sng" dirty="0">
                <a:solidFill>
                  <a:srgbClr val="FFE600"/>
                </a:solidFill>
              </a:rPr>
              <a:t>a</a:t>
            </a:r>
            <a:r>
              <a:rPr lang="en-US" sz="1800" dirty="0">
                <a:solidFill>
                  <a:srgbClr val="FFE600"/>
                </a:solidFill>
                <a:hlinkClick r:id="rId14">
                  <a:extLst>
                    <a:ext uri="{A12FA001-AC4F-418D-AE19-62706E023703}">
                      <ahyp:hlinkClr xmlns:ahyp="http://schemas.microsoft.com/office/drawing/2018/hyperlinkcolor" val="tx"/>
                    </a:ext>
                  </a:extLst>
                </a:hlinkClick>
              </a:rPr>
              <a:t>vailable here</a:t>
            </a:r>
            <a:r>
              <a:rPr lang="en-US" sz="1800" dirty="0">
                <a:solidFill>
                  <a:srgbClr val="FFE600"/>
                </a:solidFill>
              </a:rPr>
              <a:t>)</a:t>
            </a:r>
          </a:p>
        </p:txBody>
      </p:sp>
    </p:spTree>
    <p:extLst>
      <p:ext uri="{BB962C8B-B14F-4D97-AF65-F5344CB8AC3E}">
        <p14:creationId xmlns:p14="http://schemas.microsoft.com/office/powerpoint/2010/main" val="85715608"/>
      </p:ext>
    </p:extLst>
  </p:cSld>
  <p:clrMapOvr>
    <a:overrideClrMapping bg1="lt1" tx1="dk1" bg2="lt2" tx2="dk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ADBE42C-11BB-B31E-0783-3DC1A3224A2C}"/>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23493EB6-2C12-675B-5FCB-58DA0F33E764}"/>
              </a:ext>
            </a:extLst>
          </p:cNvPr>
          <p:cNvSpPr>
            <a:spLocks noGrp="1"/>
          </p:cNvSpPr>
          <p:nvPr>
            <p:ph type="title"/>
          </p:nvPr>
        </p:nvSpPr>
        <p:spPr>
          <a:xfrm>
            <a:off x="485523" y="345396"/>
            <a:ext cx="11224347" cy="470898"/>
          </a:xfrm>
        </p:spPr>
        <p:txBody>
          <a:bodyPr/>
          <a:lstStyle/>
          <a:p>
            <a:r>
              <a:rPr lang="en-IN" dirty="0"/>
              <a:t>Polling question 7</a:t>
            </a:r>
          </a:p>
        </p:txBody>
      </p:sp>
      <p:sp>
        <p:nvSpPr>
          <p:cNvPr id="6" name="Content Placeholder 7">
            <a:extLst>
              <a:ext uri="{FF2B5EF4-FFF2-40B4-BE49-F238E27FC236}">
                <a16:creationId xmlns:a16="http://schemas.microsoft.com/office/drawing/2014/main" id="{2FEEE89A-0258-C596-066E-2DD6CFE92621}"/>
              </a:ext>
            </a:extLst>
          </p:cNvPr>
          <p:cNvSpPr txBox="1">
            <a:spLocks/>
          </p:cNvSpPr>
          <p:nvPr/>
        </p:nvSpPr>
        <p:spPr>
          <a:xfrm>
            <a:off x="487775" y="2442898"/>
            <a:ext cx="11224800" cy="2142745"/>
          </a:xfrm>
          <a:prstGeom prst="rect">
            <a:avLst/>
          </a:prstGeom>
        </p:spPr>
        <p:txBody>
          <a:bodyPr lIns="0" tIns="0" rIns="0" bIns="0"/>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457200" lvl="1" indent="-457200">
              <a:spcBef>
                <a:spcPts val="0"/>
              </a:spcBef>
              <a:spcAft>
                <a:spcPts val="1200"/>
              </a:spcAft>
              <a:buFont typeface="+mj-lt"/>
              <a:buAutoNum type="alphaLcPeriod"/>
            </a:pPr>
            <a:r>
              <a:rPr lang="en-IN" sz="2000" dirty="0">
                <a:solidFill>
                  <a:schemeClr val="lt1"/>
                </a:solidFill>
              </a:rPr>
              <a:t>True</a:t>
            </a:r>
          </a:p>
          <a:p>
            <a:pPr marL="457200" lvl="1" indent="-457200">
              <a:spcBef>
                <a:spcPts val="0"/>
              </a:spcBef>
              <a:spcAft>
                <a:spcPts val="1200"/>
              </a:spcAft>
              <a:buFont typeface="+mj-lt"/>
              <a:buAutoNum type="alphaLcPeriod"/>
            </a:pPr>
            <a:r>
              <a:rPr lang="en-IN" sz="2000" dirty="0">
                <a:solidFill>
                  <a:schemeClr val="lt1"/>
                </a:solidFill>
              </a:rPr>
              <a:t>False</a:t>
            </a:r>
          </a:p>
        </p:txBody>
      </p:sp>
      <p:sp>
        <p:nvSpPr>
          <p:cNvPr id="7" name="Rectangle 6">
            <a:extLst>
              <a:ext uri="{FF2B5EF4-FFF2-40B4-BE49-F238E27FC236}">
                <a16:creationId xmlns:a16="http://schemas.microsoft.com/office/drawing/2014/main" id="{CCB1D05A-25BD-E0EF-8FB3-65334EE3187E}"/>
              </a:ext>
            </a:extLst>
          </p:cNvPr>
          <p:cNvSpPr>
            <a:spLocks/>
          </p:cNvSpPr>
          <p:nvPr/>
        </p:nvSpPr>
        <p:spPr>
          <a:xfrm>
            <a:off x="485523" y="1424450"/>
            <a:ext cx="11227052" cy="914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2E2E38"/>
                </a:solidFill>
              </a14:hiddenFill>
            </a:ext>
            <a:ext uri="{91240B29-F687-4F45-9708-019B960494DF}">
              <a14:hiddenLine xmlns:a14="http://schemas.microsoft.com/office/drawing/2010/main" w="12700" cap="flat" cmpd="sng" algn="ctr">
                <a:solidFill>
                  <a:srgbClr val="2E2E3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2400" b="1" i="1" dirty="0"/>
              <a:t>Loper Bright Enterprises v. Raimondo</a:t>
            </a:r>
            <a:r>
              <a:rPr lang="en-IN" sz="2400" b="1" dirty="0"/>
              <a:t> overturned the BP Oil case, which overruled the administrative law concept known as the BP Oil deference. </a:t>
            </a:r>
          </a:p>
        </p:txBody>
      </p:sp>
    </p:spTree>
    <p:extLst>
      <p:ext uri="{BB962C8B-B14F-4D97-AF65-F5344CB8AC3E}">
        <p14:creationId xmlns:p14="http://schemas.microsoft.com/office/powerpoint/2010/main" val="19952208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103DA26-237F-791A-DD6F-B2DEAF642CA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0129412-1AD1-12A8-46C7-E7197F71608B}"/>
              </a:ext>
            </a:extLst>
          </p:cNvPr>
          <p:cNvSpPr>
            <a:spLocks noGrp="1"/>
          </p:cNvSpPr>
          <p:nvPr>
            <p:ph type="title"/>
          </p:nvPr>
        </p:nvSpPr>
        <p:spPr>
          <a:xfrm>
            <a:off x="485775" y="1970406"/>
            <a:ext cx="7394575" cy="2869882"/>
          </a:xfrm>
        </p:spPr>
        <p:txBody>
          <a:bodyPr/>
          <a:lstStyle/>
          <a:p>
            <a:r>
              <a:rPr lang="en-IN" dirty="0"/>
              <a:t>IRS revocation of tax-exempt status of inactive entities</a:t>
            </a:r>
          </a:p>
        </p:txBody>
      </p:sp>
    </p:spTree>
    <p:extLst>
      <p:ext uri="{BB962C8B-B14F-4D97-AF65-F5344CB8AC3E}">
        <p14:creationId xmlns:p14="http://schemas.microsoft.com/office/powerpoint/2010/main" val="7059776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D623E4-988C-FB61-FC46-BAB3EB05192B}"/>
              </a:ext>
            </a:extLst>
          </p:cNvPr>
          <p:cNvGraphicFramePr>
            <a:graphicFrameLocks noChangeAspect="1"/>
          </p:cNvGraphicFramePr>
          <p:nvPr>
            <p:custDataLst>
              <p:tags r:id="rId1"/>
            </p:custDataLst>
            <p:extLst>
              <p:ext uri="{D42A27DB-BD31-4B8C-83A1-F6EECF244321}">
                <p14:modId xmlns:p14="http://schemas.microsoft.com/office/powerpoint/2010/main" val="3115561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3" name="think-cell data - do not delete" hidden="1">
                        <a:extLst>
                          <a:ext uri="{FF2B5EF4-FFF2-40B4-BE49-F238E27FC236}">
                            <a16:creationId xmlns:a16="http://schemas.microsoft.com/office/drawing/2014/main" id="{15D623E4-988C-FB61-FC46-BAB3EB05192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04B80DA2-6B3C-2D88-AE07-230EB3463DB5}"/>
              </a:ext>
            </a:extLst>
          </p:cNvPr>
          <p:cNvSpPr>
            <a:spLocks noGrp="1"/>
          </p:cNvSpPr>
          <p:nvPr>
            <p:ph type="title"/>
          </p:nvPr>
        </p:nvSpPr>
        <p:spPr/>
        <p:txBody>
          <a:bodyPr vert="horz"/>
          <a:lstStyle/>
          <a:p>
            <a:r>
              <a:rPr lang="en-US" dirty="0"/>
              <a:t>CPE eligibility</a:t>
            </a:r>
          </a:p>
        </p:txBody>
      </p:sp>
      <p:sp>
        <p:nvSpPr>
          <p:cNvPr id="12" name="Rectangle 11">
            <a:extLst>
              <a:ext uri="{FF2B5EF4-FFF2-40B4-BE49-F238E27FC236}">
                <a16:creationId xmlns:a16="http://schemas.microsoft.com/office/drawing/2014/main" id="{85E47B32-0F5C-ED88-E181-407D5FEFA4BA}"/>
              </a:ext>
            </a:extLst>
          </p:cNvPr>
          <p:cNvSpPr>
            <a:spLocks/>
          </p:cNvSpPr>
          <p:nvPr/>
        </p:nvSpPr>
        <p:spPr>
          <a:xfrm>
            <a:off x="485523" y="1424450"/>
            <a:ext cx="11227052" cy="610987"/>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2E2E38"/>
                </a:solidFill>
              </a14:hiddenFill>
            </a:ext>
            <a:ext uri="{91240B29-F687-4F45-9708-019B960494DF}">
              <a14:hiddenLine xmlns:a14="http://schemas.microsoft.com/office/drawing/2010/main" w="12700" cap="flat" cmpd="sng" algn="ctr">
                <a:solidFill>
                  <a:srgbClr val="2E2E3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91440" rIns="0" bIns="0" rtlCol="0" anchor="t" anchorCtr="0"/>
          <a:lstStyle/>
          <a:p>
            <a:r>
              <a:rPr lang="en-IN" sz="2000" dirty="0"/>
              <a:t>We will launch at least three polls per CPE credit; participants must attend the full session and must answer at least three polls per CPE credit to receive full credit.</a:t>
            </a:r>
          </a:p>
        </p:txBody>
      </p:sp>
    </p:spTree>
    <p:extLst>
      <p:ext uri="{BB962C8B-B14F-4D97-AF65-F5344CB8AC3E}">
        <p14:creationId xmlns:p14="http://schemas.microsoft.com/office/powerpoint/2010/main" val="38231373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6BACD34B-562D-7AA1-C873-E91D079F13B1}"/>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67B8916-5AC4-7EB6-6DAF-90B2E8BA52FE}"/>
              </a:ext>
            </a:extLst>
          </p:cNvPr>
          <p:cNvGraphicFramePr>
            <a:graphicFrameLocks noChangeAspect="1"/>
          </p:cNvGraphicFramePr>
          <p:nvPr>
            <p:custDataLst>
              <p:tags r:id="rId2"/>
            </p:custDataLst>
            <p:extLst>
              <p:ext uri="{D42A27DB-BD31-4B8C-83A1-F6EECF244321}">
                <p14:modId xmlns:p14="http://schemas.microsoft.com/office/powerpoint/2010/main" val="811340890"/>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467B8916-5AC4-7EB6-6DAF-90B2E8BA52FE}"/>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461B345-135F-5033-2C00-7834B75BCDAD}"/>
              </a:ext>
            </a:extLst>
          </p:cNvPr>
          <p:cNvSpPr>
            <a:spLocks noGrp="1"/>
          </p:cNvSpPr>
          <p:nvPr>
            <p:ph type="title"/>
          </p:nvPr>
        </p:nvSpPr>
        <p:spPr>
          <a:xfrm>
            <a:off x="488949" y="346075"/>
            <a:ext cx="11223625" cy="469900"/>
          </a:xfrm>
        </p:spPr>
        <p:txBody>
          <a:bodyPr vert="horz"/>
          <a:lstStyle/>
          <a:p>
            <a:r>
              <a:rPr lang="en-IN" dirty="0"/>
              <a:t>IRS scrutiny of inactive organization for failure to meet IRC Section 501(c)(3) operational test for exemption</a:t>
            </a:r>
          </a:p>
        </p:txBody>
      </p:sp>
      <p:sp>
        <p:nvSpPr>
          <p:cNvPr id="3" name="Content Placeholder 2">
            <a:extLst>
              <a:ext uri="{FF2B5EF4-FFF2-40B4-BE49-F238E27FC236}">
                <a16:creationId xmlns:a16="http://schemas.microsoft.com/office/drawing/2014/main" id="{9DBCA354-D1A6-6B80-A51F-B89774B25E26}"/>
              </a:ext>
            </a:extLst>
          </p:cNvPr>
          <p:cNvSpPr>
            <a:spLocks noGrp="1"/>
          </p:cNvSpPr>
          <p:nvPr>
            <p:ph type="body" sz="quarter" idx="4294967295"/>
          </p:nvPr>
        </p:nvSpPr>
        <p:spPr>
          <a:xfrm>
            <a:off x="479425" y="1424025"/>
            <a:ext cx="11233150" cy="4668799"/>
          </a:xfrm>
        </p:spPr>
        <p:txBody>
          <a:bodyPr/>
          <a:lstStyle/>
          <a:p>
            <a:pPr marL="365760" indent="-365760">
              <a:spcBef>
                <a:spcPts val="0"/>
              </a:spcBef>
              <a:spcAft>
                <a:spcPts val="600"/>
              </a:spcAft>
            </a:pPr>
            <a:r>
              <a:rPr lang="en-IN" sz="1800" dirty="0"/>
              <a:t>IRS identifies apparently dormant organizations through lack of activity reported on Form 990:</a:t>
            </a:r>
          </a:p>
          <a:p>
            <a:pPr marL="731520" indent="-365760">
              <a:spcBef>
                <a:spcPts val="0"/>
              </a:spcBef>
              <a:spcAft>
                <a:spcPts val="600"/>
              </a:spcAft>
            </a:pPr>
            <a:r>
              <a:rPr lang="en-IN" sz="1800" dirty="0"/>
              <a:t>Issues information requests to determine whether organizations are meeting the operational test for exemption under IRC Section 501(c)(3) by engaging in activities furthering tax-exempt purposes in a given tax year</a:t>
            </a:r>
          </a:p>
          <a:p>
            <a:pPr marL="365760" indent="-365760">
              <a:spcBef>
                <a:spcPts val="0"/>
              </a:spcBef>
              <a:spcAft>
                <a:spcPts val="600"/>
              </a:spcAft>
            </a:pPr>
            <a:r>
              <a:rPr lang="en-IN" sz="1800" dirty="0"/>
              <a:t>To be a tax-exempt 501(c)(3) organization, the organization must be organized and operated exclusively for exempt purposes set forth in IRC Section 501(c)(3).</a:t>
            </a:r>
          </a:p>
          <a:p>
            <a:pPr marL="365760" indent="-365760">
              <a:spcBef>
                <a:spcPts val="0"/>
              </a:spcBef>
              <a:spcAft>
                <a:spcPts val="600"/>
              </a:spcAft>
            </a:pPr>
            <a:r>
              <a:rPr lang="en-IN" sz="1800" dirty="0"/>
              <a:t>Operational test (for organizations exempt under IRC Section 501(c)(3)):</a:t>
            </a:r>
          </a:p>
          <a:p>
            <a:pPr marL="731520" indent="-365760">
              <a:spcBef>
                <a:spcPts val="0"/>
              </a:spcBef>
              <a:spcAft>
                <a:spcPts val="600"/>
              </a:spcAft>
            </a:pPr>
            <a:r>
              <a:rPr lang="en-IN" sz="1800" dirty="0"/>
              <a:t>An organization will be regarded as operated exclusively for one or more exempt purposes only if it engages primarily in activities that accomplish exempt purposes specified in IRC Section 501(c)(3). An organization will not be so regarded if more than an insubstantial part of its activities does not further an exempt purpose.</a:t>
            </a:r>
          </a:p>
          <a:p>
            <a:pPr marL="365760" indent="-365760">
              <a:spcBef>
                <a:spcPts val="0"/>
              </a:spcBef>
              <a:spcAft>
                <a:spcPts val="600"/>
              </a:spcAft>
            </a:pPr>
            <a:r>
              <a:rPr lang="en-IN" sz="1800" dirty="0"/>
              <a:t>An organization that doesn’t meet the IRC Section 501(c)(3) operational test in a given tax year doesn’t qualify for exemption under IRC Section 501(c)(3) for that tax year.</a:t>
            </a:r>
          </a:p>
        </p:txBody>
      </p:sp>
    </p:spTree>
    <p:extLst>
      <p:ext uri="{BB962C8B-B14F-4D97-AF65-F5344CB8AC3E}">
        <p14:creationId xmlns:p14="http://schemas.microsoft.com/office/powerpoint/2010/main" val="1605888398"/>
      </p:ext>
    </p:extLst>
  </p:cSld>
  <p:clrMapOvr>
    <a:overrideClrMapping bg1="lt1" tx1="dk1" bg2="lt2" tx2="dk2" accent1="accent1" accent2="accent2" accent3="accent3" accent4="accent4" accent5="accent5" accent6="accent6" hlink="hlink" folHlink="folHlink"/>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B6D1F17C-1A3B-CC49-874E-FBD525B78EB5}"/>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055BFC0-B694-3F05-F987-B92BDC3C980B}"/>
              </a:ext>
            </a:extLst>
          </p:cNvPr>
          <p:cNvGraphicFramePr>
            <a:graphicFrameLocks noChangeAspect="1"/>
          </p:cNvGraphicFramePr>
          <p:nvPr>
            <p:custDataLst>
              <p:tags r:id="rId2"/>
            </p:custDataLst>
            <p:extLst>
              <p:ext uri="{D42A27DB-BD31-4B8C-83A1-F6EECF244321}">
                <p14:modId xmlns:p14="http://schemas.microsoft.com/office/powerpoint/2010/main" val="1238548034"/>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1055BFC0-B694-3F05-F987-B92BDC3C980B}"/>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574F4E-C94D-CCFA-A63C-E4C14B62F203}"/>
              </a:ext>
            </a:extLst>
          </p:cNvPr>
          <p:cNvSpPr>
            <a:spLocks noGrp="1"/>
          </p:cNvSpPr>
          <p:nvPr>
            <p:ph type="title"/>
          </p:nvPr>
        </p:nvSpPr>
        <p:spPr>
          <a:xfrm>
            <a:off x="488949" y="346075"/>
            <a:ext cx="11223625" cy="469900"/>
          </a:xfrm>
        </p:spPr>
        <p:txBody>
          <a:bodyPr vert="horz"/>
          <a:lstStyle/>
          <a:p>
            <a:r>
              <a:rPr lang="en-IN" dirty="0"/>
              <a:t>IRS revokes tax-exempt status of inactive organization for failure to meet operational test for IRC Section 501(c)(3) exemption </a:t>
            </a:r>
          </a:p>
        </p:txBody>
      </p:sp>
      <p:sp>
        <p:nvSpPr>
          <p:cNvPr id="3" name="Content Placeholder 2">
            <a:extLst>
              <a:ext uri="{FF2B5EF4-FFF2-40B4-BE49-F238E27FC236}">
                <a16:creationId xmlns:a16="http://schemas.microsoft.com/office/drawing/2014/main" id="{2397CDE5-05B2-EA87-2A0C-E84D7C95AC44}"/>
              </a:ext>
            </a:extLst>
          </p:cNvPr>
          <p:cNvSpPr>
            <a:spLocks noGrp="1"/>
          </p:cNvSpPr>
          <p:nvPr>
            <p:ph type="body" sz="quarter" idx="4294967295"/>
          </p:nvPr>
        </p:nvSpPr>
        <p:spPr>
          <a:xfrm>
            <a:off x="479425" y="1424025"/>
            <a:ext cx="11233150" cy="4668799"/>
          </a:xfrm>
        </p:spPr>
        <p:txBody>
          <a:bodyPr/>
          <a:lstStyle/>
          <a:p>
            <a:pPr marL="365760" indent="-365760">
              <a:spcBef>
                <a:spcPts val="0"/>
              </a:spcBef>
              <a:spcAft>
                <a:spcPts val="600"/>
              </a:spcAft>
            </a:pPr>
            <a:r>
              <a:rPr lang="en-IN" sz="1800" dirty="0"/>
              <a:t>IRS revoked exempt status of an inactive organization under examination for failing to meet the IRC Section 501(c)(3) operational test </a:t>
            </a:r>
            <a:r>
              <a:rPr lang="en-IN" sz="1800" dirty="0">
                <a:solidFill>
                  <a:schemeClr val="tx2"/>
                </a:solidFill>
              </a:rPr>
              <a:t>(</a:t>
            </a:r>
            <a:r>
              <a:rPr lang="en-IN" sz="1800" dirty="0">
                <a:solidFill>
                  <a:srgbClr val="FFE600"/>
                </a:solidFill>
                <a:hlinkClick r:id="rId7">
                  <a:extLst>
                    <a:ext uri="{A12FA001-AC4F-418D-AE19-62706E023703}">
                      <ahyp:hlinkClr xmlns:ahyp="http://schemas.microsoft.com/office/drawing/2018/hyperlinkcolor" val="tx"/>
                    </a:ext>
                  </a:extLst>
                </a:hlinkClick>
              </a:rPr>
              <a:t>PLR 2024-05-011 (February 2, 2024</a:t>
            </a:r>
            <a:r>
              <a:rPr lang="en-IN" sz="1800" dirty="0">
                <a:solidFill>
                  <a:schemeClr val="tx2"/>
                </a:solidFill>
                <a:hlinkClick r:id="rId7">
                  <a:extLst>
                    <a:ext uri="{A12FA001-AC4F-418D-AE19-62706E023703}">
                      <ahyp:hlinkClr xmlns:ahyp="http://schemas.microsoft.com/office/drawing/2018/hyperlinkcolor" val="tx"/>
                    </a:ext>
                  </a:extLst>
                </a:hlinkClick>
              </a:rPr>
              <a:t>)</a:t>
            </a:r>
            <a:r>
              <a:rPr lang="en-IN" sz="1800" dirty="0">
                <a:solidFill>
                  <a:schemeClr val="tx2"/>
                </a:solidFill>
              </a:rPr>
              <a:t>).</a:t>
            </a:r>
          </a:p>
          <a:p>
            <a:pPr marL="365760" indent="-365760">
              <a:spcBef>
                <a:spcPts val="0"/>
              </a:spcBef>
              <a:spcAft>
                <a:spcPts val="600"/>
              </a:spcAft>
            </a:pPr>
            <a:r>
              <a:rPr lang="en-IN" sz="1800" dirty="0"/>
              <a:t>Through an information request, the IRS learned the organization had not conducted any activities during the tax year and that the organization had previously terminated operations and been dissolved by the Secretary of State.</a:t>
            </a:r>
          </a:p>
          <a:p>
            <a:pPr marL="365760" indent="-365760">
              <a:spcBef>
                <a:spcPts val="0"/>
              </a:spcBef>
              <a:spcAft>
                <a:spcPts val="600"/>
              </a:spcAft>
            </a:pPr>
            <a:r>
              <a:rPr lang="en-IN" sz="1800" dirty="0"/>
              <a:t>The IRS determined that the organization didn’t qualify for exemption because it did exist during the year but didn’t conduct any tax-exempt activities. </a:t>
            </a:r>
          </a:p>
          <a:p>
            <a:pPr marL="365760" indent="-365760">
              <a:spcBef>
                <a:spcPts val="0"/>
              </a:spcBef>
              <a:spcAft>
                <a:spcPts val="600"/>
              </a:spcAft>
            </a:pPr>
            <a:r>
              <a:rPr lang="en-IN" sz="1800" dirty="0"/>
              <a:t>The IRS challenged the organization’s claim that it no longer existed during the year due to the state’s administrative dissolution of the organization in a prior year:</a:t>
            </a:r>
          </a:p>
          <a:p>
            <a:pPr marL="731520" indent="-365760">
              <a:spcBef>
                <a:spcPts val="0"/>
              </a:spcBef>
              <a:spcAft>
                <a:spcPts val="600"/>
              </a:spcAft>
            </a:pPr>
            <a:r>
              <a:rPr lang="en-IN" sz="1800" dirty="0"/>
              <a:t>Administrative dissolution by the Secretary of State did not terminate the organization’s legal existence.</a:t>
            </a:r>
          </a:p>
          <a:p>
            <a:pPr marL="731520" indent="-365760">
              <a:spcBef>
                <a:spcPts val="0"/>
              </a:spcBef>
              <a:spcAft>
                <a:spcPts val="600"/>
              </a:spcAft>
            </a:pPr>
            <a:r>
              <a:rPr lang="en-IN" sz="1800" dirty="0"/>
              <a:t>The organization was required to file articles of dissolution to cease its existence under state law, then submit those articles of dissolution with its final Form 990-series return.</a:t>
            </a:r>
          </a:p>
        </p:txBody>
      </p:sp>
    </p:spTree>
    <p:extLst>
      <p:ext uri="{BB962C8B-B14F-4D97-AF65-F5344CB8AC3E}">
        <p14:creationId xmlns:p14="http://schemas.microsoft.com/office/powerpoint/2010/main" val="3799211993"/>
      </p:ext>
    </p:extLst>
  </p:cSld>
  <p:clrMapOvr>
    <a:overrideClrMapping bg1="lt1" tx1="dk1" bg2="lt2" tx2="dk2" accent1="accent1" accent2="accent2" accent3="accent3" accent4="accent4" accent5="accent5" accent6="accent6" hlink="hlink" folHlink="folHlink"/>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72DC7261-F685-08A7-0C91-B006A94B24CA}"/>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FF98DC2-C66A-5D9B-E3B5-2211020ED02C}"/>
              </a:ext>
            </a:extLst>
          </p:cNvPr>
          <p:cNvGraphicFramePr>
            <a:graphicFrameLocks noChangeAspect="1"/>
          </p:cNvGraphicFramePr>
          <p:nvPr>
            <p:custDataLst>
              <p:tags r:id="rId2"/>
            </p:custDataLst>
            <p:extLst>
              <p:ext uri="{D42A27DB-BD31-4B8C-83A1-F6EECF244321}">
                <p14:modId xmlns:p14="http://schemas.microsoft.com/office/powerpoint/2010/main" val="4198985066"/>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BFF98DC2-C66A-5D9B-E3B5-2211020ED02C}"/>
                          </a:ext>
                        </a:extLst>
                      </p:cNvPr>
                      <p:cNvPicPr/>
                      <p:nvPr/>
                    </p:nvPicPr>
                    <p:blipFill>
                      <a:blip r:embed="rId6"/>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4DAEE1C-4E93-697C-7C40-A01B5A9CE6E7}"/>
              </a:ext>
            </a:extLst>
          </p:cNvPr>
          <p:cNvSpPr>
            <a:spLocks noGrp="1"/>
          </p:cNvSpPr>
          <p:nvPr>
            <p:ph type="title"/>
          </p:nvPr>
        </p:nvSpPr>
        <p:spPr>
          <a:xfrm>
            <a:off x="488949" y="346075"/>
            <a:ext cx="11223625" cy="469900"/>
          </a:xfrm>
        </p:spPr>
        <p:txBody>
          <a:bodyPr vert="horz"/>
          <a:lstStyle/>
          <a:p>
            <a:r>
              <a:rPr lang="en-IN" dirty="0"/>
              <a:t>IRS revokes tax-exempt status of inactive organization for failure to meet operational test for IRC Section 501(c)(3) exemption (cont.)</a:t>
            </a:r>
          </a:p>
        </p:txBody>
      </p:sp>
      <p:sp>
        <p:nvSpPr>
          <p:cNvPr id="3" name="Content Placeholder 2">
            <a:extLst>
              <a:ext uri="{FF2B5EF4-FFF2-40B4-BE49-F238E27FC236}">
                <a16:creationId xmlns:a16="http://schemas.microsoft.com/office/drawing/2014/main" id="{DA36B764-E84D-12E9-1D5E-867CDF9F5A43}"/>
              </a:ext>
            </a:extLst>
          </p:cNvPr>
          <p:cNvSpPr>
            <a:spLocks noGrp="1"/>
          </p:cNvSpPr>
          <p:nvPr>
            <p:ph type="body" sz="quarter" idx="4294967295"/>
          </p:nvPr>
        </p:nvSpPr>
        <p:spPr>
          <a:xfrm>
            <a:off x="479425" y="1424025"/>
            <a:ext cx="11233150" cy="4668799"/>
          </a:xfrm>
        </p:spPr>
        <p:txBody>
          <a:bodyPr/>
          <a:lstStyle/>
          <a:p>
            <a:pPr marL="365760" indent="-365760">
              <a:spcBef>
                <a:spcPts val="0"/>
              </a:spcBef>
              <a:spcAft>
                <a:spcPts val="600"/>
              </a:spcAft>
            </a:pPr>
            <a:r>
              <a:rPr lang="en-IN" sz="1800" dirty="0"/>
              <a:t>Implications of PLR 2024-05-111:</a:t>
            </a:r>
          </a:p>
          <a:p>
            <a:pPr marL="731520" indent="-365760">
              <a:spcBef>
                <a:spcPts val="0"/>
              </a:spcBef>
              <a:spcAft>
                <a:spcPts val="600"/>
              </a:spcAft>
            </a:pPr>
            <a:r>
              <a:rPr lang="en-IN" sz="1800" dirty="0"/>
              <a:t>This revocation, and many similar revocations of dormant organizations’ tax-exempt status, highlights the need for exempt organizations to continue engaging in charitable activity in every year of their existence:</a:t>
            </a:r>
          </a:p>
          <a:p>
            <a:pPr marL="1097280" indent="-365760">
              <a:spcBef>
                <a:spcPts val="0"/>
              </a:spcBef>
              <a:spcAft>
                <a:spcPts val="600"/>
              </a:spcAft>
            </a:pPr>
            <a:r>
              <a:rPr lang="en-IN" sz="1800" dirty="0"/>
              <a:t>If an IRC Section 501(c)(3) entity becomes dormant in a particular tax year, it will fail the operational test for subsequent years unless it re-engages in charitable activity.</a:t>
            </a:r>
          </a:p>
          <a:p>
            <a:pPr marL="1097280" indent="-365760">
              <a:spcBef>
                <a:spcPts val="0"/>
              </a:spcBef>
              <a:spcAft>
                <a:spcPts val="600"/>
              </a:spcAft>
            </a:pPr>
            <a:r>
              <a:rPr lang="en-IN" sz="1800" dirty="0"/>
              <a:t>An organization that ceases operations in one year, but doesn’t dissolve under state law until a subsequent year, risks revocation of its exemption for that subsequent year and puts the deductibility of its donors’ contributions at risk.</a:t>
            </a:r>
          </a:p>
          <a:p>
            <a:pPr marL="1097280" indent="-365760">
              <a:spcBef>
                <a:spcPts val="0"/>
              </a:spcBef>
              <a:spcAft>
                <a:spcPts val="600"/>
              </a:spcAft>
            </a:pPr>
            <a:r>
              <a:rPr lang="en-IN" sz="1800" dirty="0"/>
              <a:t>If an organization has ceased or plans to cease operations, it should review the applicable laws within its state of incorporation and promptly take action to dissolve under state law:</a:t>
            </a:r>
          </a:p>
          <a:p>
            <a:pPr marL="1463040" indent="-365760">
              <a:spcBef>
                <a:spcPts val="0"/>
              </a:spcBef>
              <a:spcAft>
                <a:spcPts val="600"/>
              </a:spcAft>
            </a:pPr>
            <a:r>
              <a:rPr lang="en-IN" sz="1800" dirty="0"/>
              <a:t>It should then attach its articles of dissolution (or equivalent document certified by its state) with its final Form 990-series return.</a:t>
            </a:r>
          </a:p>
        </p:txBody>
      </p:sp>
    </p:spTree>
    <p:extLst>
      <p:ext uri="{BB962C8B-B14F-4D97-AF65-F5344CB8AC3E}">
        <p14:creationId xmlns:p14="http://schemas.microsoft.com/office/powerpoint/2010/main" val="1643158602"/>
      </p:ext>
    </p:extLst>
  </p:cSld>
  <p:clrMapOvr>
    <a:overrideClrMapping bg1="lt1" tx1="dk1" bg2="lt2" tx2="dk2" accent1="accent1" accent2="accent2" accent3="accent3" accent4="accent4" accent5="accent5" accent6="accent6" hlink="hlink" folHlink="folHlink"/>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95C3740-3AF9-FD7F-76BB-DF644906A5F2}"/>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20DF149A-BFE7-DC84-E12F-84DF9A8153FE}"/>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20DF149A-BFE7-DC84-E12F-84DF9A8153FE}"/>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D7A4DD1-CF6D-163D-718E-6DB82814C1FC}"/>
              </a:ext>
            </a:extLst>
          </p:cNvPr>
          <p:cNvSpPr>
            <a:spLocks noGrp="1"/>
          </p:cNvSpPr>
          <p:nvPr>
            <p:ph type="title"/>
          </p:nvPr>
        </p:nvSpPr>
        <p:spPr/>
        <p:txBody>
          <a:bodyPr/>
          <a:lstStyle/>
          <a:p>
            <a:r>
              <a:rPr lang="en-US" sz="2400" b="1" dirty="0">
                <a:solidFill>
                  <a:schemeClr val="tx2"/>
                </a:solidFill>
              </a:rPr>
              <a:t>Key Takeaways</a:t>
            </a:r>
          </a:p>
        </p:txBody>
      </p:sp>
      <p:sp>
        <p:nvSpPr>
          <p:cNvPr id="3" name="Content Placeholder 2">
            <a:extLst>
              <a:ext uri="{FF2B5EF4-FFF2-40B4-BE49-F238E27FC236}">
                <a16:creationId xmlns:a16="http://schemas.microsoft.com/office/drawing/2014/main" id="{8EED9443-C980-19F6-D7F8-544360984CCB}"/>
              </a:ext>
            </a:extLst>
          </p:cNvPr>
          <p:cNvSpPr>
            <a:spLocks noGrp="1"/>
          </p:cNvSpPr>
          <p:nvPr>
            <p:ph type="body" sz="quarter" idx="10"/>
          </p:nvPr>
        </p:nvSpPr>
        <p:spPr>
          <a:xfrm>
            <a:off x="607379" y="1139113"/>
            <a:ext cx="10975022" cy="441268"/>
          </a:xfrm>
        </p:spPr>
        <p:txBody>
          <a:bodyPr/>
          <a:lstStyle/>
          <a:p>
            <a:pPr marL="0" indent="0">
              <a:spcAft>
                <a:spcPts val="1199"/>
              </a:spcAft>
              <a:buNone/>
            </a:pPr>
            <a:r>
              <a:rPr lang="en-US" sz="2000" b="1" dirty="0">
                <a:solidFill>
                  <a:schemeClr val="tx2"/>
                </a:solidFill>
                <a:latin typeface="EYInterstate" panose="02000503020000020004" pitchFamily="2" charset="0"/>
              </a:rPr>
              <a:t>Now that we have completed the course, participants will be able to:</a:t>
            </a:r>
          </a:p>
        </p:txBody>
      </p:sp>
      <p:sp>
        <p:nvSpPr>
          <p:cNvPr id="5" name="Content Placeholder 2">
            <a:extLst>
              <a:ext uri="{FF2B5EF4-FFF2-40B4-BE49-F238E27FC236}">
                <a16:creationId xmlns:a16="http://schemas.microsoft.com/office/drawing/2014/main" id="{2AB08129-0C8E-EAF9-5FD5-D488CFFAFA94}"/>
              </a:ext>
            </a:extLst>
          </p:cNvPr>
          <p:cNvSpPr txBox="1">
            <a:spLocks/>
          </p:cNvSpPr>
          <p:nvPr/>
        </p:nvSpPr>
        <p:spPr>
          <a:xfrm>
            <a:off x="603500" y="1575642"/>
            <a:ext cx="10975022" cy="5157324"/>
          </a:xfrm>
          <a:prstGeom prst="rect">
            <a:avLst/>
          </a:prstGeom>
        </p:spPr>
        <p:txBody>
          <a:bodyPr vert="horz" lIns="0" tIns="0" rIns="0" bIns="0" numCol="2" spcCol="365760" rtlCol="0" anchor="t" anchorCtr="0">
            <a:noAutofit/>
          </a:bodyPr>
          <a:lstStyle>
            <a:lvl1pPr marL="356616"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ts val="0"/>
              </a:spcBef>
              <a:spcAft>
                <a:spcPts val="300"/>
              </a:spcAft>
              <a:buClr>
                <a:schemeClr val="tx2"/>
              </a:buClr>
              <a:buSzPct val="100000"/>
              <a:buFont typeface="EYInterstate" panose="0200050302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6235" indent="-356235"/>
            <a:r>
              <a:rPr lang="en-US" sz="1950" dirty="0">
                <a:latin typeface="+mn-lt"/>
              </a:rPr>
              <a:t>Explain the role and activities of the IRS Tax Exempt and Government Entities Division</a:t>
            </a:r>
            <a:endParaRPr lang="en-US" sz="1950" dirty="0"/>
          </a:p>
          <a:p>
            <a:pPr marL="0" indent="0">
              <a:buFont typeface="EYInterstate" panose="02000503020000020004" pitchFamily="2" charset="0"/>
              <a:buNone/>
            </a:pPr>
            <a:endParaRPr lang="en-US" sz="1399" dirty="0">
              <a:latin typeface="+mn-lt"/>
            </a:endParaRPr>
          </a:p>
          <a:p>
            <a:pPr marL="356235" indent="-356235"/>
            <a:r>
              <a:rPr lang="en-US" sz="1999" dirty="0">
                <a:latin typeface="+mn-lt"/>
              </a:rPr>
              <a:t>Identify Priority Guidance Plan projects impacting tax-exempt organizations</a:t>
            </a:r>
          </a:p>
          <a:p>
            <a:pPr marL="356235" lvl="1" indent="0">
              <a:buFont typeface="EYInterstate" panose="02000503020000020004" pitchFamily="2" charset="0"/>
              <a:buNone/>
            </a:pPr>
            <a:endParaRPr lang="en-US" sz="1399" dirty="0">
              <a:latin typeface="+mn-lt"/>
            </a:endParaRPr>
          </a:p>
          <a:p>
            <a:pPr marL="356235" indent="-356235"/>
            <a:r>
              <a:rPr lang="en-US" sz="1950" dirty="0">
                <a:latin typeface="+mn-lt"/>
              </a:rPr>
              <a:t>Identify the implications of Schedule H filings and IRS community benefit report</a:t>
            </a:r>
            <a:br>
              <a:rPr lang="en-US" sz="1950" dirty="0">
                <a:latin typeface="+mn-lt"/>
              </a:rPr>
            </a:br>
            <a:r>
              <a:rPr lang="en-US" sz="1950" dirty="0">
                <a:latin typeface="+mn-lt"/>
              </a:rPr>
              <a:t>to Congress</a:t>
            </a:r>
          </a:p>
          <a:p>
            <a:pPr marL="356235" indent="-356235"/>
            <a:endParaRPr lang="en-US" sz="1999" dirty="0">
              <a:latin typeface="+mn-lt"/>
            </a:endParaRPr>
          </a:p>
          <a:p>
            <a:pPr marL="356235" indent="-356235"/>
            <a:r>
              <a:rPr lang="en-US" sz="1950" dirty="0">
                <a:latin typeface="+mn-lt"/>
              </a:rPr>
              <a:t> Identify scope and substance of IRS 501(r) and community benefit standard examinations</a:t>
            </a:r>
            <a:endParaRPr lang="en-US" dirty="0"/>
          </a:p>
          <a:p>
            <a:pPr marL="356235" indent="-356235"/>
            <a:endParaRPr lang="en-US" sz="1999" dirty="0">
              <a:latin typeface="+mn-lt"/>
            </a:endParaRPr>
          </a:p>
          <a:p>
            <a:pPr marL="356235" indent="-356235"/>
            <a:endParaRPr lang="en-US" sz="1999" dirty="0">
              <a:latin typeface="+mn-lt"/>
            </a:endParaRPr>
          </a:p>
          <a:p>
            <a:pPr marL="356235" indent="-356235"/>
            <a:endParaRPr lang="en-US" sz="1999" dirty="0">
              <a:latin typeface="+mn-lt"/>
            </a:endParaRPr>
          </a:p>
          <a:p>
            <a:pPr marL="356235" indent="-356235"/>
            <a:r>
              <a:rPr lang="en-US" sz="1950" dirty="0">
                <a:latin typeface="+mn-lt"/>
              </a:rPr>
              <a:t>Discuss implications of increased scrutiny</a:t>
            </a:r>
            <a:br>
              <a:rPr lang="en-US" sz="1950" dirty="0">
                <a:latin typeface="+mn-lt"/>
              </a:rPr>
            </a:br>
            <a:r>
              <a:rPr lang="en-US" sz="1950" dirty="0">
                <a:latin typeface="+mn-lt"/>
              </a:rPr>
              <a:t>of tax-exempt hospitals' community benefit</a:t>
            </a:r>
          </a:p>
          <a:p>
            <a:pPr marL="356235" indent="-356235"/>
            <a:endParaRPr lang="en-US" sz="1950" dirty="0">
              <a:latin typeface="+mn-lt"/>
            </a:endParaRPr>
          </a:p>
          <a:p>
            <a:pPr marL="356235" indent="-356235"/>
            <a:r>
              <a:rPr lang="en-US" sz="1950" dirty="0">
                <a:latin typeface="+mn-lt"/>
              </a:rPr>
              <a:t>Explain significance of recent judicial developments</a:t>
            </a:r>
          </a:p>
          <a:p>
            <a:pPr marL="0" indent="0">
              <a:buNone/>
            </a:pPr>
            <a:endParaRPr lang="en-US" sz="1950" dirty="0">
              <a:latin typeface="+mn-lt"/>
            </a:endParaRPr>
          </a:p>
          <a:p>
            <a:pPr marL="356235" indent="-356235"/>
            <a:r>
              <a:rPr lang="en-US" sz="1950" dirty="0">
                <a:latin typeface="+mn-lt"/>
              </a:rPr>
              <a:t>Identify risks to tax exemption of not conducting any activity during tax year</a:t>
            </a:r>
          </a:p>
        </p:txBody>
      </p:sp>
    </p:spTree>
    <p:extLst>
      <p:ext uri="{BB962C8B-B14F-4D97-AF65-F5344CB8AC3E}">
        <p14:creationId xmlns:p14="http://schemas.microsoft.com/office/powerpoint/2010/main" val="8863328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2E69E18-394C-8E40-3896-198A2FDCE088}"/>
              </a:ext>
            </a:extLst>
          </p:cNvPr>
          <p:cNvSpPr txBox="1">
            <a:spLocks/>
          </p:cNvSpPr>
          <p:nvPr/>
        </p:nvSpPr>
        <p:spPr>
          <a:xfrm>
            <a:off x="479425" y="563952"/>
            <a:ext cx="3303461" cy="3514808"/>
          </a:xfrm>
          <a:prstGeom prst="rect">
            <a:avLst/>
          </a:prstGeom>
          <a:noFill/>
        </p:spPr>
        <p:txBody>
          <a:bodyPr wrap="square" lIns="0" tIns="36576" rIns="0" bIns="0" rtlCol="0" anchor="t">
            <a:spAutoFit/>
          </a:bodyPr>
          <a:lstStyle/>
          <a:p>
            <a:pPr>
              <a:spcAft>
                <a:spcPts val="600"/>
              </a:spcAft>
              <a:buClr>
                <a:srgbClr val="FFD200"/>
              </a:buClr>
              <a:buSzPct val="70000"/>
              <a:defRPr/>
            </a:pPr>
            <a:r>
              <a:rPr lang="en-US" sz="1200" b="1" kern="0" dirty="0">
                <a:solidFill>
                  <a:srgbClr val="FFE600"/>
                </a:solidFill>
                <a:latin typeface="EYInterstate" panose="02000503020000020004" pitchFamily="2" charset="0"/>
              </a:rPr>
              <a:t>EY  </a:t>
            </a:r>
            <a:r>
              <a:rPr lang="en-US" sz="1200" kern="0" dirty="0">
                <a:solidFill>
                  <a:srgbClr val="FFE600"/>
                </a:solidFill>
                <a:latin typeface="EYInterstate" panose="02000503020000020004" pitchFamily="2" charset="0"/>
                <a:cs typeface="Arial"/>
              </a:rPr>
              <a:t>|  Building a better working world</a:t>
            </a:r>
          </a:p>
          <a:p>
            <a:pPr>
              <a:buClr>
                <a:srgbClr val="FFD200"/>
              </a:buClr>
              <a:buSzPct val="70000"/>
              <a:defRPr/>
            </a:pPr>
            <a:endParaRPr lang="en-US" sz="1100" kern="0" dirty="0">
              <a:solidFill>
                <a:srgbClr val="FFFFFF"/>
              </a:solidFill>
              <a:latin typeface="EYInterstate" panose="02000503020000020004" pitchFamily="2" charset="0"/>
              <a:cs typeface="Arial"/>
            </a:endParaRPr>
          </a:p>
          <a:p>
            <a:pPr>
              <a:buClr>
                <a:srgbClr val="FFD200"/>
              </a:buClr>
              <a:buSzPct val="70000"/>
              <a:defRPr/>
            </a:pPr>
            <a:r>
              <a:rPr lang="en-US" sz="1100" kern="0" dirty="0">
                <a:solidFill>
                  <a:srgbClr val="FFFFFF"/>
                </a:solidFill>
                <a:latin typeface="EYInterstate" panose="02000503020000020004" pitchFamily="2" charset="0"/>
              </a:rPr>
              <a:t>EY is building a better working world by creating new value for clients, people, society and the planet, while building trust in capital markets.</a:t>
            </a:r>
          </a:p>
          <a:p>
            <a:pPr>
              <a:buClr>
                <a:srgbClr val="FFD200"/>
              </a:buClr>
              <a:buSzPct val="70000"/>
              <a:defRPr/>
            </a:pPr>
            <a:r>
              <a:rPr lang="en-US" sz="1100" kern="0" dirty="0">
                <a:solidFill>
                  <a:srgbClr val="FFFFFF"/>
                </a:solidFill>
                <a:latin typeface="EYInterstate" panose="02000503020000020004" pitchFamily="2" charset="0"/>
              </a:rPr>
              <a:t> </a:t>
            </a:r>
          </a:p>
          <a:p>
            <a:pPr>
              <a:buClr>
                <a:srgbClr val="FFD200"/>
              </a:buClr>
              <a:buSzPct val="70000"/>
              <a:defRPr/>
            </a:pPr>
            <a:r>
              <a:rPr lang="en-US" sz="1100" kern="0" dirty="0">
                <a:solidFill>
                  <a:srgbClr val="FFFFFF"/>
                </a:solidFill>
                <a:latin typeface="EYInterstate" panose="02000503020000020004" pitchFamily="2" charset="0"/>
              </a:rPr>
              <a:t>Enabled by data, AI and advanced technology, </a:t>
            </a:r>
            <a:br>
              <a:rPr lang="en-US" sz="1100" kern="0" dirty="0">
                <a:solidFill>
                  <a:srgbClr val="FFFFFF"/>
                </a:solidFill>
                <a:latin typeface="EYInterstate" panose="02000503020000020004" pitchFamily="2" charset="0"/>
              </a:rPr>
            </a:br>
            <a:r>
              <a:rPr lang="en-US" sz="1100" kern="0" dirty="0">
                <a:solidFill>
                  <a:srgbClr val="FFFFFF"/>
                </a:solidFill>
                <a:latin typeface="EYInterstate" panose="02000503020000020004" pitchFamily="2" charset="0"/>
              </a:rPr>
              <a:t>EY teams help clients shape the future with confidence and develop answers for the most pressing issues of today and tomorrow. </a:t>
            </a:r>
          </a:p>
          <a:p>
            <a:pPr>
              <a:buClr>
                <a:srgbClr val="FFD200"/>
              </a:buClr>
              <a:buSzPct val="70000"/>
              <a:defRPr/>
            </a:pPr>
            <a:r>
              <a:rPr lang="en-US" sz="1100" kern="0" dirty="0">
                <a:solidFill>
                  <a:srgbClr val="FFFFFF"/>
                </a:solidFill>
                <a:latin typeface="EYInterstate" panose="02000503020000020004" pitchFamily="2" charset="0"/>
              </a:rPr>
              <a:t> </a:t>
            </a:r>
          </a:p>
          <a:p>
            <a:pPr>
              <a:buClr>
                <a:srgbClr val="FFD200"/>
              </a:buClr>
              <a:buSzPct val="70000"/>
              <a:defRPr/>
            </a:pPr>
            <a:r>
              <a:rPr lang="en-US" sz="1100" kern="0" dirty="0">
                <a:solidFill>
                  <a:srgbClr val="FFFFFF"/>
                </a:solidFill>
                <a:latin typeface="EYInterstate" panose="02000503020000020004" pitchFamily="2" charset="0"/>
              </a:rPr>
              <a:t>EY teams work across a full spectrum of </a:t>
            </a:r>
            <a:br>
              <a:rPr lang="en-US" sz="1100" kern="0" dirty="0">
                <a:solidFill>
                  <a:srgbClr val="FFFFFF"/>
                </a:solidFill>
                <a:latin typeface="EYInterstate" panose="02000503020000020004" pitchFamily="2" charset="0"/>
              </a:rPr>
            </a:br>
            <a:r>
              <a:rPr lang="en-US" sz="1100" kern="0" dirty="0">
                <a:solidFill>
                  <a:srgbClr val="FFFFFF"/>
                </a:solidFill>
                <a:latin typeface="EYInterstate" panose="02000503020000020004" pitchFamily="2" charset="0"/>
              </a:rPr>
              <a:t>services in assurance, consulting, tax, strategy and transactions. Fueled by sector insights, </a:t>
            </a:r>
            <a:br>
              <a:rPr lang="en-US" sz="1100" kern="0" dirty="0">
                <a:solidFill>
                  <a:srgbClr val="FFFFFF"/>
                </a:solidFill>
                <a:latin typeface="EYInterstate" panose="02000503020000020004" pitchFamily="2" charset="0"/>
              </a:rPr>
            </a:br>
            <a:r>
              <a:rPr lang="en-US" sz="1100" kern="0" dirty="0">
                <a:solidFill>
                  <a:srgbClr val="FFFFFF"/>
                </a:solidFill>
                <a:latin typeface="EYInterstate" panose="02000503020000020004" pitchFamily="2" charset="0"/>
              </a:rPr>
              <a:t>a globally connected, multidisciplinary network and diverse ecosystem partners, EY teams can provide services in more than 150 countries </a:t>
            </a:r>
            <a:br>
              <a:rPr lang="en-US" sz="1100" kern="0" dirty="0">
                <a:solidFill>
                  <a:srgbClr val="FFFFFF"/>
                </a:solidFill>
                <a:latin typeface="EYInterstate" panose="02000503020000020004" pitchFamily="2" charset="0"/>
              </a:rPr>
            </a:br>
            <a:r>
              <a:rPr lang="en-US" sz="1100" kern="0" dirty="0">
                <a:solidFill>
                  <a:srgbClr val="FFFFFF"/>
                </a:solidFill>
                <a:latin typeface="EYInterstate" panose="02000503020000020004" pitchFamily="2" charset="0"/>
              </a:rPr>
              <a:t>and territories.</a:t>
            </a:r>
          </a:p>
          <a:p>
            <a:pPr>
              <a:buClr>
                <a:srgbClr val="FFD200"/>
              </a:buClr>
              <a:buSzPct val="70000"/>
              <a:defRPr/>
            </a:pPr>
            <a:r>
              <a:rPr lang="en-US" sz="1100" kern="0" dirty="0">
                <a:solidFill>
                  <a:srgbClr val="FFFFFF"/>
                </a:solidFill>
                <a:latin typeface="EYInterstate" panose="02000503020000020004" pitchFamily="2" charset="0"/>
              </a:rPr>
              <a:t> </a:t>
            </a:r>
          </a:p>
          <a:p>
            <a:pPr>
              <a:buClr>
                <a:srgbClr val="FFD200"/>
              </a:buClr>
              <a:buSzPct val="70000"/>
              <a:defRPr/>
            </a:pPr>
            <a:r>
              <a:rPr lang="en-US" sz="1100" kern="0" dirty="0">
                <a:solidFill>
                  <a:srgbClr val="FFE600"/>
                </a:solidFill>
                <a:latin typeface="EYInterstate" panose="02000503020000020004" pitchFamily="2" charset="0"/>
              </a:rPr>
              <a:t>All in to shape the future with confidence. </a:t>
            </a:r>
          </a:p>
        </p:txBody>
      </p:sp>
      <p:sp>
        <p:nvSpPr>
          <p:cNvPr id="5" name="Content Placeholder 1">
            <a:extLst>
              <a:ext uri="{FF2B5EF4-FFF2-40B4-BE49-F238E27FC236}">
                <a16:creationId xmlns:a16="http://schemas.microsoft.com/office/drawing/2014/main" id="{044F23A7-BAAD-3F97-BA78-68B2C55DE2F3}"/>
              </a:ext>
            </a:extLst>
          </p:cNvPr>
          <p:cNvSpPr txBox="1">
            <a:spLocks/>
          </p:cNvSpPr>
          <p:nvPr/>
        </p:nvSpPr>
        <p:spPr>
          <a:xfrm>
            <a:off x="8397056" y="563951"/>
            <a:ext cx="3309810" cy="3059781"/>
          </a:xfrm>
          <a:prstGeom prst="rect">
            <a:avLst/>
          </a:prstGeom>
        </p:spPr>
        <p:txBody>
          <a:bodyPr vert="horz" lIns="0" tIns="0" rIns="0" bIns="0" rtlCol="0" anchor="t" anchorCtr="0">
            <a:noAutofit/>
          </a:bodyPr>
          <a:lstStyle>
            <a:lvl1pPr marL="0" indent="0" algn="l" defTabSz="995363" rtl="0" eaLnBrk="1" fontAlgn="base" latinLnBrk="0" hangingPunct="1">
              <a:lnSpc>
                <a:spcPct val="100000"/>
              </a:lnSpc>
              <a:spcBef>
                <a:spcPct val="70000"/>
              </a:spcBef>
              <a:spcAft>
                <a:spcPct val="0"/>
              </a:spcAft>
              <a:buClr>
                <a:schemeClr val="tx2"/>
              </a:buClr>
              <a:buSzPct val="100000"/>
              <a:buFont typeface="EYInterstate Light" panose="02000506000000020004" pitchFamily="2" charset="0"/>
              <a:buNone/>
              <a:defRPr lang="en-US" sz="1200" kern="1200" noProof="0" dirty="0" smtClean="0">
                <a:solidFill>
                  <a:schemeClr val="bg1"/>
                </a:solidFill>
                <a:latin typeface="Arial" panose="020B0604020202020204" pitchFamily="34" charset="0"/>
                <a:ea typeface="+mn-ea"/>
                <a:cs typeface="Arial" pitchFamily="34" charset="0"/>
              </a:defRPr>
            </a:lvl1pPr>
            <a:lvl2pPr marL="0" indent="0" algn="l" defTabSz="995363" rtl="0" eaLnBrk="1" fontAlgn="base" latinLnBrk="0" hangingPunct="1">
              <a:lnSpc>
                <a:spcPct val="100000"/>
              </a:lnSpc>
              <a:spcBef>
                <a:spcPct val="0"/>
              </a:spcBef>
              <a:spcAft>
                <a:spcPct val="0"/>
              </a:spcAft>
              <a:buClr>
                <a:schemeClr val="tx2"/>
              </a:buClr>
              <a:buSzPct val="100000"/>
              <a:buFont typeface="EYInterstate Light" panose="02000506000000020004" pitchFamily="2" charset="0"/>
              <a:buNone/>
              <a:defRPr lang="en-US" sz="900" b="1" kern="1200" noProof="0" dirty="0" smtClean="0">
                <a:solidFill>
                  <a:schemeClr val="bg1"/>
                </a:solidFill>
                <a:latin typeface="Arial" panose="020B0604020202020204" pitchFamily="34" charset="0"/>
                <a:ea typeface="+mn-ea"/>
                <a:cs typeface="Arial" pitchFamily="34" charset="0"/>
              </a:defRPr>
            </a:lvl2pPr>
            <a:lvl3pPr marL="176213" indent="-176213" algn="l" defTabSz="995363" rtl="0" eaLnBrk="1" fontAlgn="base" latinLnBrk="0" hangingPunct="1">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Arial" panose="020B0604020202020204" pitchFamily="34" charset="0"/>
                <a:ea typeface="+mn-ea"/>
                <a:cs typeface="Arial" pitchFamily="34" charset="0"/>
              </a:defRPr>
            </a:lvl3pPr>
            <a:lvl4pPr marL="0" indent="0" algn="l" defTabSz="995363" rtl="0" eaLnBrk="1" fontAlgn="base" latinLnBrk="0" hangingPunct="1">
              <a:lnSpc>
                <a:spcPct val="100000"/>
              </a:lnSpc>
              <a:spcBef>
                <a:spcPct val="0"/>
              </a:spcBef>
              <a:spcAft>
                <a:spcPct val="0"/>
              </a:spcAft>
              <a:buClr>
                <a:schemeClr val="tx2"/>
              </a:buClr>
              <a:buSzPct val="100000"/>
              <a:buFont typeface="EYInterstate Light" panose="02000506000000020004" pitchFamily="2" charset="0"/>
              <a:buNone/>
              <a:defRPr lang="en-US" sz="800" kern="1200" noProof="0" dirty="0" smtClean="0">
                <a:solidFill>
                  <a:schemeClr val="bg1"/>
                </a:solidFill>
                <a:latin typeface="Arial" panose="020B0604020202020204" pitchFamily="34" charset="0"/>
                <a:ea typeface="+mn-ea"/>
                <a:cs typeface="Arial" pitchFamily="34" charset="0"/>
              </a:defRPr>
            </a:lvl4pPr>
            <a:lvl5pPr marL="188913" indent="-188913" algn="l" defTabSz="995363" rtl="0" eaLnBrk="1" fontAlgn="base" latinLnBrk="0" hangingPunct="1">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Arial" panose="020B0604020202020204"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400" fontAlgn="auto">
              <a:spcBef>
                <a:spcPts val="0"/>
              </a:spcBef>
              <a:spcAft>
                <a:spcPts val="0"/>
              </a:spcAft>
              <a:buClr>
                <a:srgbClr val="FFD200"/>
              </a:buClr>
              <a:buSzPct val="70000"/>
              <a:defRPr/>
            </a:pPr>
            <a:r>
              <a:rPr lang="en-IN" sz="800" kern="0" dirty="0">
                <a:solidFill>
                  <a:srgbClr val="FFFFFF"/>
                </a:solidFill>
                <a:latin typeface="EYInterstate Light"/>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a:buClr>
                <a:srgbClr val="FFE600"/>
              </a:buClr>
              <a:defRPr/>
            </a:pPr>
            <a:r>
              <a:rPr lang="en-US" sz="800" kern="0" dirty="0">
                <a:solidFill>
                  <a:srgbClr val="FFFFFF"/>
                </a:solidFill>
                <a:latin typeface="EYInterstate Light"/>
                <a:sym typeface="Arial" panose="020B0604020202020204" pitchFamily="34" charset="0"/>
              </a:rPr>
              <a:t>Ernst &amp; Young LLP is a client-serving member firm of Ernst &amp; Young Global Limited operating in the US.</a:t>
            </a:r>
          </a:p>
          <a:p>
            <a:pPr>
              <a:buClr>
                <a:srgbClr val="FFE600"/>
              </a:buClr>
              <a:defRPr/>
            </a:pPr>
            <a:r>
              <a:rPr lang="en-US" sz="800" dirty="0">
                <a:solidFill>
                  <a:srgbClr val="FFFFFF"/>
                </a:solidFill>
                <a:latin typeface="EYInterstate Light"/>
                <a:sym typeface="Arial" panose="020B0604020202020204" pitchFamily="34" charset="0"/>
              </a:rPr>
              <a:t>©</a:t>
            </a:r>
            <a:r>
              <a:rPr lang="en-IN" sz="800" dirty="0">
                <a:solidFill>
                  <a:srgbClr val="FFFFFF"/>
                </a:solidFill>
                <a:latin typeface="EYInterstate Light"/>
                <a:sym typeface="Arial" panose="020B0604020202020204" pitchFamily="34" charset="0"/>
              </a:rPr>
              <a:t> 2025</a:t>
            </a:r>
            <a:r>
              <a:rPr lang="en-US" sz="800" dirty="0">
                <a:solidFill>
                  <a:srgbClr val="FFFFFF"/>
                </a:solidFill>
                <a:latin typeface="EYInterstate Light"/>
                <a:sym typeface="Arial" panose="020B0604020202020204" pitchFamily="34" charset="0"/>
              </a:rPr>
              <a:t> Ernst &amp; Young LLP.</a:t>
            </a:r>
            <a:br>
              <a:rPr lang="en-US" sz="800" dirty="0">
                <a:solidFill>
                  <a:srgbClr val="FFFFFF"/>
                </a:solidFill>
                <a:latin typeface="EYInterstate Light"/>
                <a:sym typeface="Arial" panose="020B0604020202020204" pitchFamily="34" charset="0"/>
              </a:rPr>
            </a:br>
            <a:r>
              <a:rPr lang="en-US" sz="800" dirty="0">
                <a:solidFill>
                  <a:srgbClr val="FFFFFF"/>
                </a:solidFill>
                <a:latin typeface="EYInterstate Light"/>
                <a:sym typeface="Arial" panose="020B0604020202020204" pitchFamily="34" charset="0"/>
              </a:rPr>
              <a:t>All Rights Reserved.</a:t>
            </a:r>
          </a:p>
          <a:p>
            <a:pPr>
              <a:buClr>
                <a:srgbClr val="FFE600"/>
              </a:buClr>
              <a:defRPr/>
            </a:pPr>
            <a:r>
              <a:rPr lang="en-US" sz="800" dirty="0">
                <a:solidFill>
                  <a:srgbClr val="FFFFFF"/>
                </a:solidFill>
                <a:latin typeface="EYInterstate Light"/>
                <a:sym typeface="Arial" panose="020B0604020202020204" pitchFamily="34" charset="0"/>
              </a:rPr>
              <a:t>US SCORE  no. </a:t>
            </a:r>
            <a:r>
              <a:rPr lang="en-US" sz="800">
                <a:solidFill>
                  <a:srgbClr val="FFFFFF"/>
                </a:solidFill>
                <a:latin typeface="EYInterstate Light"/>
                <a:sym typeface="Arial" panose="020B0604020202020204" pitchFamily="34" charset="0"/>
              </a:rPr>
              <a:t>26498-251US</a:t>
            </a:r>
          </a:p>
          <a:p>
            <a:pPr>
              <a:buClr>
                <a:srgbClr val="FFE600"/>
              </a:buClr>
              <a:defRPr/>
            </a:pPr>
            <a:r>
              <a:rPr lang="en-US" sz="800">
                <a:solidFill>
                  <a:srgbClr val="FFFFFF"/>
                </a:solidFill>
                <a:latin typeface="EYInterstate Light"/>
                <a:sym typeface="Arial" panose="020B0604020202020204" pitchFamily="34" charset="0"/>
              </a:rPr>
              <a:t>ED </a:t>
            </a:r>
            <a:r>
              <a:rPr lang="en-US" sz="800" dirty="0">
                <a:solidFill>
                  <a:srgbClr val="FFFFFF"/>
                </a:solidFill>
                <a:latin typeface="EYInterstate Light"/>
                <a:sym typeface="Arial" panose="020B0604020202020204" pitchFamily="34" charset="0"/>
              </a:rPr>
              <a:t>None</a:t>
            </a:r>
          </a:p>
          <a:p>
            <a:pPr>
              <a:buClr>
                <a:srgbClr val="FFE600"/>
              </a:buClr>
              <a:defRPr/>
            </a:pPr>
            <a:r>
              <a:rPr lang="en-US" sz="700" dirty="0">
                <a:solidFill>
                  <a:srgbClr val="FFFFFF"/>
                </a:solidFill>
                <a:latin typeface="EYInterstate Light"/>
                <a:sym typeface="Arial" panose="020B0604020202020204" pitchFamily="34" charset="0"/>
              </a:rPr>
              <a:t>This material has been prepared for general informational purposes only and is not intended to be relied upon as accounting, tax, legal or other professional advice. Please refer to your advisors for specific advice.</a:t>
            </a:r>
          </a:p>
          <a:p>
            <a:pPr>
              <a:buClr>
                <a:srgbClr val="FFE600"/>
              </a:buClr>
              <a:defRPr/>
            </a:pPr>
            <a:r>
              <a:rPr lang="en-US" sz="1100" b="1" dirty="0">
                <a:solidFill>
                  <a:srgbClr val="FFFFFF"/>
                </a:solidFill>
                <a:latin typeface="EYInterstate" panose="02000503020000020004" pitchFamily="2" charset="0"/>
                <a:sym typeface="Arial" panose="020B0604020202020204" pitchFamily="34" charset="0"/>
              </a:rPr>
              <a:t>ey.com</a:t>
            </a:r>
            <a:endParaRPr lang="en-US" sz="1100" b="1" dirty="0">
              <a:solidFill>
                <a:srgbClr val="2E2E38"/>
              </a:solidFill>
              <a:latin typeface="EYInterstate" panose="02000503020000020004" pitchFamily="2" charset="0"/>
            </a:endParaRPr>
          </a:p>
        </p:txBody>
      </p:sp>
    </p:spTree>
    <p:extLst>
      <p:ext uri="{BB962C8B-B14F-4D97-AF65-F5344CB8AC3E}">
        <p14:creationId xmlns:p14="http://schemas.microsoft.com/office/powerpoint/2010/main" val="12108928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EF12F40-3F55-4A40-B7C8-0F38DDC86AD5}"/>
              </a:ext>
            </a:extLst>
          </p:cNvPr>
          <p:cNvGraphicFramePr>
            <a:graphicFrameLocks noChangeAspect="1"/>
          </p:cNvGraphicFramePr>
          <p:nvPr>
            <p:custDataLst>
              <p:tags r:id="rId2"/>
            </p:custDataLst>
            <p:extLst>
              <p:ext uri="{D42A27DB-BD31-4B8C-83A1-F6EECF244321}">
                <p14:modId xmlns:p14="http://schemas.microsoft.com/office/powerpoint/2010/main" val="307753612"/>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7EF12F40-3F55-4A40-B7C8-0F38DDC86AD5}"/>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p:cNvSpPr>
            <a:spLocks noGrp="1"/>
          </p:cNvSpPr>
          <p:nvPr>
            <p:ph type="title"/>
          </p:nvPr>
        </p:nvSpPr>
        <p:spPr>
          <a:xfrm>
            <a:off x="488949" y="346075"/>
            <a:ext cx="11223625" cy="469900"/>
          </a:xfrm>
        </p:spPr>
        <p:txBody>
          <a:bodyPr vert="horz"/>
          <a:lstStyle/>
          <a:p>
            <a:r>
              <a:rPr lang="en-US" dirty="0"/>
              <a:t>Agenda</a:t>
            </a:r>
          </a:p>
        </p:txBody>
      </p:sp>
      <p:sp>
        <p:nvSpPr>
          <p:cNvPr id="3" name="Content Placeholder 2"/>
          <p:cNvSpPr>
            <a:spLocks noGrp="1"/>
          </p:cNvSpPr>
          <p:nvPr>
            <p:ph type="body" sz="quarter" idx="4294967295"/>
          </p:nvPr>
        </p:nvSpPr>
        <p:spPr>
          <a:xfrm>
            <a:off x="479424" y="1412875"/>
            <a:ext cx="5420155" cy="4667138"/>
          </a:xfrm>
        </p:spPr>
        <p:txBody>
          <a:bodyPr/>
          <a:lstStyle/>
          <a:p>
            <a:pPr marL="365760" indent="-365760">
              <a:spcBef>
                <a:spcPts val="0"/>
              </a:spcBef>
              <a:spcAft>
                <a:spcPts val="600"/>
              </a:spcAft>
            </a:pPr>
            <a:r>
              <a:rPr lang="en-US" sz="1800" dirty="0"/>
              <a:t>IRS Update</a:t>
            </a:r>
          </a:p>
          <a:p>
            <a:pPr marL="365760" indent="-365760">
              <a:spcBef>
                <a:spcPts val="0"/>
              </a:spcBef>
              <a:spcAft>
                <a:spcPts val="600"/>
              </a:spcAft>
            </a:pPr>
            <a:r>
              <a:rPr lang="en-US" sz="1800" dirty="0"/>
              <a:t>IRS/Treasury 2024–2025 Priority Guidance Plan </a:t>
            </a:r>
          </a:p>
          <a:p>
            <a:pPr marL="365760" indent="-365760">
              <a:spcBef>
                <a:spcPts val="0"/>
              </a:spcBef>
              <a:spcAft>
                <a:spcPts val="600"/>
              </a:spcAft>
            </a:pPr>
            <a:r>
              <a:rPr lang="en-US" sz="1800" dirty="0"/>
              <a:t>2024 Forms 990 and 990-T highlights</a:t>
            </a:r>
          </a:p>
          <a:p>
            <a:pPr marL="365760" indent="-365760">
              <a:spcBef>
                <a:spcPts val="0"/>
              </a:spcBef>
              <a:spcAft>
                <a:spcPts val="600"/>
              </a:spcAft>
            </a:pPr>
            <a:r>
              <a:rPr lang="en-US" sz="1800" dirty="0"/>
              <a:t>Schedule H and community benefit reporting considerations</a:t>
            </a:r>
          </a:p>
          <a:p>
            <a:pPr marL="365760" indent="-365760">
              <a:spcBef>
                <a:spcPts val="0"/>
              </a:spcBef>
              <a:spcAft>
                <a:spcPts val="600"/>
              </a:spcAft>
            </a:pPr>
            <a:r>
              <a:rPr lang="en-US" sz="1800" dirty="0"/>
              <a:t>Increasing scrutiny of tax-exempt hospitals’ community benefit</a:t>
            </a:r>
          </a:p>
          <a:p>
            <a:pPr marL="365760" indent="-365760">
              <a:spcBef>
                <a:spcPts val="0"/>
              </a:spcBef>
              <a:spcAft>
                <a:spcPts val="600"/>
              </a:spcAft>
            </a:pPr>
            <a:r>
              <a:rPr lang="en-US" sz="1800" dirty="0"/>
              <a:t>Internal Revenue Code (IRC) Section 501(r) and community benefit standard examinations</a:t>
            </a:r>
          </a:p>
          <a:p>
            <a:pPr marL="365760" indent="-365760">
              <a:spcBef>
                <a:spcPts val="0"/>
              </a:spcBef>
              <a:spcAft>
                <a:spcPts val="600"/>
              </a:spcAft>
            </a:pPr>
            <a:r>
              <a:rPr lang="en-US" sz="1800" dirty="0"/>
              <a:t>Judicial and regulatory developments </a:t>
            </a:r>
          </a:p>
          <a:p>
            <a:pPr marL="365760" indent="-365760">
              <a:spcBef>
                <a:spcPts val="0"/>
              </a:spcBef>
              <a:spcAft>
                <a:spcPts val="600"/>
              </a:spcAft>
            </a:pPr>
            <a:r>
              <a:rPr lang="en-US" sz="1800" dirty="0"/>
              <a:t>IRS revocation of tax-exempt status of inactive organizations</a:t>
            </a:r>
          </a:p>
        </p:txBody>
      </p:sp>
      <p:pic>
        <p:nvPicPr>
          <p:cNvPr id="7" name="Picture 6">
            <a:extLst>
              <a:ext uri="{FF2B5EF4-FFF2-40B4-BE49-F238E27FC236}">
                <a16:creationId xmlns:a16="http://schemas.microsoft.com/office/drawing/2014/main" id="{8A30A78A-22E6-4F89-958E-2C9097C5F844}"/>
              </a:ext>
            </a:extLst>
          </p:cNvPr>
          <p:cNvPicPr>
            <a:picLocks/>
          </p:cNvPicPr>
          <p:nvPr/>
        </p:nvPicPr>
        <p:blipFill>
          <a:blip r:embed="rId6"/>
          <a:srcRect l="2648" t="5625" r="24286"/>
          <a:stretch/>
        </p:blipFill>
        <p:spPr>
          <a:xfrm>
            <a:off x="6292419" y="1412874"/>
            <a:ext cx="5420155" cy="4667139"/>
          </a:xfrm>
          <a:prstGeom prst="rect">
            <a:avLst/>
          </a:prstGeom>
        </p:spPr>
      </p:pic>
    </p:spTree>
    <p:extLst>
      <p:ext uri="{BB962C8B-B14F-4D97-AF65-F5344CB8AC3E}">
        <p14:creationId xmlns:p14="http://schemas.microsoft.com/office/powerpoint/2010/main" val="2753683065"/>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a:extLst>
            <a:ext uri="{FF2B5EF4-FFF2-40B4-BE49-F238E27FC236}">
              <a16:creationId xmlns:a16="http://schemas.microsoft.com/office/drawing/2014/main" id="{3DA072C9-297C-391B-044A-5427F048B81F}"/>
            </a:ext>
          </a:extLst>
        </p:cNvPr>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6291CD3-2DE5-C50D-0EA2-BA89F70DB75B}"/>
              </a:ext>
            </a:extLst>
          </p:cNvPr>
          <p:cNvGraphicFramePr>
            <a:graphicFrameLocks noChangeAspect="1"/>
          </p:cNvGraphicFramePr>
          <p:nvPr>
            <p:custDataLst>
              <p:tags r:id="rId2"/>
            </p:custDataLst>
            <p:extLst>
              <p:ext uri="{D42A27DB-BD31-4B8C-83A1-F6EECF244321}">
                <p14:modId xmlns:p14="http://schemas.microsoft.com/office/powerpoint/2010/main" val="2921942309"/>
              </p:ext>
            </p:ext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86291CD3-2DE5-C50D-0EA2-BA89F70DB75B}"/>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8868BB8-2726-8A74-5573-BADF649562F0}"/>
              </a:ext>
            </a:extLst>
          </p:cNvPr>
          <p:cNvSpPr>
            <a:spLocks noGrp="1"/>
          </p:cNvSpPr>
          <p:nvPr>
            <p:ph type="title"/>
          </p:nvPr>
        </p:nvSpPr>
        <p:spPr>
          <a:xfrm>
            <a:off x="488949" y="346075"/>
            <a:ext cx="11223625" cy="469900"/>
          </a:xfrm>
        </p:spPr>
        <p:txBody>
          <a:bodyPr vert="horz"/>
          <a:lstStyle/>
          <a:p>
            <a:r>
              <a:rPr lang="en-US" dirty="0"/>
              <a:t>Objectives</a:t>
            </a:r>
          </a:p>
        </p:txBody>
      </p:sp>
      <p:sp>
        <p:nvSpPr>
          <p:cNvPr id="3" name="Content Placeholder 2">
            <a:extLst>
              <a:ext uri="{FF2B5EF4-FFF2-40B4-BE49-F238E27FC236}">
                <a16:creationId xmlns:a16="http://schemas.microsoft.com/office/drawing/2014/main" id="{A897055A-549C-8D37-CC1F-A3D025FA0FB4}"/>
              </a:ext>
            </a:extLst>
          </p:cNvPr>
          <p:cNvSpPr>
            <a:spLocks noGrp="1"/>
          </p:cNvSpPr>
          <p:nvPr>
            <p:ph type="body" sz="quarter" idx="4294967295"/>
          </p:nvPr>
        </p:nvSpPr>
        <p:spPr>
          <a:xfrm>
            <a:off x="479424" y="1844787"/>
            <a:ext cx="8289438" cy="4235226"/>
          </a:xfrm>
        </p:spPr>
        <p:txBody>
          <a:bodyPr/>
          <a:lstStyle/>
          <a:p>
            <a:pPr marL="365760" indent="-365760">
              <a:spcBef>
                <a:spcPts val="0"/>
              </a:spcBef>
              <a:spcAft>
                <a:spcPts val="600"/>
              </a:spcAft>
            </a:pPr>
            <a:r>
              <a:rPr lang="en-IN" sz="1800" dirty="0"/>
              <a:t>Explain the role and activities of the IRS Tax-Exempt and Government Entities division</a:t>
            </a:r>
          </a:p>
          <a:p>
            <a:pPr marL="365760" indent="-365760">
              <a:spcBef>
                <a:spcPts val="0"/>
              </a:spcBef>
              <a:spcAft>
                <a:spcPts val="600"/>
              </a:spcAft>
            </a:pPr>
            <a:r>
              <a:rPr lang="en-IN" sz="1800" dirty="0"/>
              <a:t>Identify 2024–2025 Priority Guidance Plan projects impacting tax-exempt organizations</a:t>
            </a:r>
          </a:p>
          <a:p>
            <a:pPr marL="365760" indent="-365760">
              <a:spcBef>
                <a:spcPts val="0"/>
              </a:spcBef>
              <a:spcAft>
                <a:spcPts val="600"/>
              </a:spcAft>
            </a:pPr>
            <a:r>
              <a:rPr lang="en-IN" sz="1800" dirty="0"/>
              <a:t>Identify the implications of Schedule H filings and IRS community benefit report to Congress</a:t>
            </a:r>
          </a:p>
          <a:p>
            <a:pPr marL="365760" indent="-365760">
              <a:spcBef>
                <a:spcPts val="0"/>
              </a:spcBef>
              <a:spcAft>
                <a:spcPts val="600"/>
              </a:spcAft>
            </a:pPr>
            <a:r>
              <a:rPr lang="en-IN" sz="1800" dirty="0"/>
              <a:t>Understand scope and substance of IRC Section 501(r) and community benefit standard examinations</a:t>
            </a:r>
          </a:p>
          <a:p>
            <a:pPr marL="365760" indent="-365760">
              <a:spcBef>
                <a:spcPts val="0"/>
              </a:spcBef>
              <a:spcAft>
                <a:spcPts val="600"/>
              </a:spcAft>
            </a:pPr>
            <a:r>
              <a:rPr lang="en-IN" sz="1800" dirty="0"/>
              <a:t>Discuss implications of increased scrutiny of tax-exempt hospitals’ community benefit</a:t>
            </a:r>
          </a:p>
          <a:p>
            <a:pPr marL="365760" indent="-365760">
              <a:spcBef>
                <a:spcPts val="0"/>
              </a:spcBef>
              <a:spcAft>
                <a:spcPts val="600"/>
              </a:spcAft>
            </a:pPr>
            <a:r>
              <a:rPr lang="en-IN" sz="1800" dirty="0"/>
              <a:t>Explain significance of recent judicial developments</a:t>
            </a:r>
          </a:p>
          <a:p>
            <a:pPr marL="365760" indent="-365760">
              <a:spcBef>
                <a:spcPts val="0"/>
              </a:spcBef>
              <a:spcAft>
                <a:spcPts val="600"/>
              </a:spcAft>
            </a:pPr>
            <a:r>
              <a:rPr lang="en-US" sz="1800" dirty="0"/>
              <a:t>Identify risks of inactive tax-exempt entities and organizations failing to meet the operational test</a:t>
            </a:r>
            <a:endParaRPr lang="en-IN" sz="1800" dirty="0"/>
          </a:p>
        </p:txBody>
      </p:sp>
      <p:pic>
        <p:nvPicPr>
          <p:cNvPr id="7" name="Picture 6">
            <a:extLst>
              <a:ext uri="{FF2B5EF4-FFF2-40B4-BE49-F238E27FC236}">
                <a16:creationId xmlns:a16="http://schemas.microsoft.com/office/drawing/2014/main" id="{7494F553-24B6-B66E-8011-1356DA28498B}"/>
              </a:ext>
            </a:extLst>
          </p:cNvPr>
          <p:cNvPicPr>
            <a:picLocks/>
          </p:cNvPicPr>
          <p:nvPr/>
        </p:nvPicPr>
        <p:blipFill rotWithShape="1">
          <a:blip r:embed="rId6" cstate="print">
            <a:extLst>
              <a:ext uri="{28A0092B-C50C-407E-A947-70E740481C1C}">
                <a14:useLocalDpi xmlns:a14="http://schemas.microsoft.com/office/drawing/2010/main" val="0"/>
              </a:ext>
            </a:extLst>
          </a:blip>
          <a:srcRect t="6815" b="6815"/>
          <a:stretch/>
        </p:blipFill>
        <p:spPr>
          <a:xfrm>
            <a:off x="8862646" y="1844788"/>
            <a:ext cx="2849928" cy="3692412"/>
          </a:xfrm>
          <a:prstGeom prst="rect">
            <a:avLst/>
          </a:prstGeom>
        </p:spPr>
      </p:pic>
      <p:sp>
        <p:nvSpPr>
          <p:cNvPr id="4" name="Content Placeholder 2">
            <a:extLst>
              <a:ext uri="{FF2B5EF4-FFF2-40B4-BE49-F238E27FC236}">
                <a16:creationId xmlns:a16="http://schemas.microsoft.com/office/drawing/2014/main" id="{B0A2645A-F1A9-403A-ECD0-A7DA837E2F08}"/>
              </a:ext>
            </a:extLst>
          </p:cNvPr>
          <p:cNvSpPr txBox="1">
            <a:spLocks/>
          </p:cNvSpPr>
          <p:nvPr/>
        </p:nvSpPr>
        <p:spPr>
          <a:xfrm>
            <a:off x="479423" y="1426965"/>
            <a:ext cx="11233151" cy="441268"/>
          </a:xfrm>
          <a:prstGeom prst="rect">
            <a:avLst/>
          </a:prstGeom>
        </p:spPr>
        <p:txBody>
          <a:bodyPr lIns="0" tIns="0" rIns="0" bIns="0"/>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0" indent="0">
              <a:spcAft>
                <a:spcPts val="1199"/>
              </a:spcAft>
              <a:buFont typeface="Wingdings" pitchFamily="2" charset="2"/>
              <a:buNone/>
            </a:pPr>
            <a:r>
              <a:rPr lang="en-US" sz="1800" b="1" dirty="0">
                <a:solidFill>
                  <a:schemeClr val="tx2"/>
                </a:solidFill>
              </a:rPr>
              <a:t>After successfully completing this course, participants should be able to:</a:t>
            </a:r>
          </a:p>
        </p:txBody>
      </p:sp>
    </p:spTree>
    <p:extLst>
      <p:ext uri="{BB962C8B-B14F-4D97-AF65-F5344CB8AC3E}">
        <p14:creationId xmlns:p14="http://schemas.microsoft.com/office/powerpoint/2010/main" val="3518670738"/>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0AF86FA-45BE-8D0D-193D-77064D3947F1}"/>
              </a:ext>
            </a:extLst>
          </p:cNvPr>
          <p:cNvSpPr>
            <a:spLocks noGrp="1"/>
          </p:cNvSpPr>
          <p:nvPr>
            <p:ph type="title"/>
          </p:nvPr>
        </p:nvSpPr>
        <p:spPr>
          <a:xfrm>
            <a:off x="485775" y="1970406"/>
            <a:ext cx="7394575" cy="2869882"/>
          </a:xfrm>
        </p:spPr>
        <p:txBody>
          <a:bodyPr/>
          <a:lstStyle/>
          <a:p>
            <a:r>
              <a:rPr lang="en-IN" dirty="0"/>
              <a:t>IRS update</a:t>
            </a:r>
          </a:p>
        </p:txBody>
      </p:sp>
    </p:spTree>
    <p:extLst>
      <p:ext uri="{BB962C8B-B14F-4D97-AF65-F5344CB8AC3E}">
        <p14:creationId xmlns:p14="http://schemas.microsoft.com/office/powerpoint/2010/main" val="377290359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52C6282-7178-F979-B16B-2F1395059D17}"/>
            </a:ext>
          </a:extLst>
        </p:cNvPr>
        <p:cNvGrpSpPr/>
        <p:nvPr/>
      </p:nvGrpSpPr>
      <p:grpSpPr>
        <a:xfrm>
          <a:off x="0" y="0"/>
          <a:ext cx="0" cy="0"/>
          <a:chOff x="0" y="0"/>
          <a:chExt cx="0" cy="0"/>
        </a:xfrm>
      </p:grpSpPr>
      <p:sp>
        <p:nvSpPr>
          <p:cNvPr id="5" name="Title 4">
            <a:extLst>
              <a:ext uri="{FF2B5EF4-FFF2-40B4-BE49-F238E27FC236}">
                <a16:creationId xmlns:a16="http://schemas.microsoft.com/office/drawing/2014/main" id="{EC9BB015-0F92-E0DC-B955-83AA8968E0F0}"/>
              </a:ext>
            </a:extLst>
          </p:cNvPr>
          <p:cNvSpPr>
            <a:spLocks noGrp="1"/>
          </p:cNvSpPr>
          <p:nvPr>
            <p:ph type="title"/>
          </p:nvPr>
        </p:nvSpPr>
        <p:spPr>
          <a:xfrm>
            <a:off x="485523" y="345396"/>
            <a:ext cx="11224347" cy="470898"/>
          </a:xfrm>
        </p:spPr>
        <p:txBody>
          <a:bodyPr/>
          <a:lstStyle/>
          <a:p>
            <a:r>
              <a:rPr lang="en-IN" dirty="0"/>
              <a:t>Polling question 2</a:t>
            </a:r>
          </a:p>
        </p:txBody>
      </p:sp>
      <p:sp>
        <p:nvSpPr>
          <p:cNvPr id="6" name="Content Placeholder 7">
            <a:extLst>
              <a:ext uri="{FF2B5EF4-FFF2-40B4-BE49-F238E27FC236}">
                <a16:creationId xmlns:a16="http://schemas.microsoft.com/office/drawing/2014/main" id="{D939E443-C57E-8B26-BB28-BA7EFAFDFB9F}"/>
              </a:ext>
            </a:extLst>
          </p:cNvPr>
          <p:cNvSpPr txBox="1">
            <a:spLocks/>
          </p:cNvSpPr>
          <p:nvPr/>
        </p:nvSpPr>
        <p:spPr>
          <a:xfrm>
            <a:off x="487775" y="2443025"/>
            <a:ext cx="11224800" cy="2010509"/>
          </a:xfrm>
          <a:prstGeom prst="rect">
            <a:avLst/>
          </a:prstGeom>
        </p:spPr>
        <p:txBody>
          <a:bodyPr lIns="0" tIns="0" rIns="0" bIns="0"/>
          <a:lstStyle>
            <a:lvl1pPr marL="252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1pPr>
            <a:lvl2pPr marL="504000" indent="-252000" algn="l" defTabSz="914400" rtl="0" eaLnBrk="1" latinLnBrk="0" hangingPunct="1">
              <a:spcBef>
                <a:spcPts val="400"/>
              </a:spcBef>
              <a:spcAft>
                <a:spcPts val="400"/>
              </a:spcAft>
              <a:buClr>
                <a:schemeClr val="tx2"/>
              </a:buClr>
              <a:buSzPct val="100000"/>
              <a:buFont typeface="Wingdings" pitchFamily="2" charset="2"/>
              <a:buChar char="§"/>
              <a:defRPr sz="1600" kern="1200">
                <a:solidFill>
                  <a:schemeClr val="bg1"/>
                </a:solidFill>
                <a:latin typeface="+mn-lt"/>
                <a:ea typeface="+mn-ea"/>
                <a:cs typeface="+mn-cs"/>
              </a:defRPr>
            </a:lvl2pPr>
            <a:lvl3pPr marL="756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3pPr>
            <a:lvl4pPr marL="1008000" indent="-252000" algn="l" defTabSz="914400" rtl="0" eaLnBrk="1" latinLnBrk="0" hangingPunct="1">
              <a:spcBef>
                <a:spcPts val="400"/>
              </a:spcBef>
              <a:spcAft>
                <a:spcPts val="400"/>
              </a:spcAft>
              <a:buClr>
                <a:schemeClr val="tx2"/>
              </a:buClr>
              <a:buSzPct val="100000"/>
              <a:buFont typeface="Wingdings" pitchFamily="2" charset="2"/>
              <a:buChar char="§"/>
              <a:defRPr sz="1400" kern="1200">
                <a:solidFill>
                  <a:schemeClr val="bg1"/>
                </a:solidFill>
                <a:latin typeface="+mn-lt"/>
                <a:ea typeface="+mn-ea"/>
                <a:cs typeface="+mn-cs"/>
              </a:defRPr>
            </a:lvl4pPr>
            <a:lvl5pPr marL="1260000" indent="-252000" algn="l" defTabSz="914400" rtl="0" eaLnBrk="1" latinLnBrk="0" hangingPunct="1">
              <a:spcBef>
                <a:spcPts val="400"/>
              </a:spcBef>
              <a:spcAft>
                <a:spcPts val="400"/>
              </a:spcAft>
              <a:buClr>
                <a:schemeClr val="tx2"/>
              </a:buClr>
              <a:buSzPct val="100000"/>
              <a:buFont typeface="Wingdings" pitchFamily="2" charset="2"/>
              <a:buChar char="§"/>
              <a:defRPr sz="1200" kern="1200">
                <a:solidFill>
                  <a:schemeClr val="bg1"/>
                </a:solidFill>
                <a:latin typeface="+mn-lt"/>
                <a:ea typeface="+mn-ea"/>
                <a:cs typeface="+mn-cs"/>
              </a:defRPr>
            </a:lvl5pPr>
            <a:lvl6pPr marL="1512000" indent="-252000" algn="l" defTabSz="914400" rtl="0" eaLnBrk="1" latinLnBrk="0" hangingPunct="1">
              <a:spcBef>
                <a:spcPts val="400"/>
              </a:spcBef>
              <a:spcAft>
                <a:spcPts val="400"/>
              </a:spcAft>
              <a:buClr>
                <a:schemeClr val="tx2"/>
              </a:buClr>
              <a:buFont typeface="Wingdings" pitchFamily="2" charset="2"/>
              <a:buChar char="§"/>
              <a:tabLst/>
              <a:defRPr sz="1200" kern="1200">
                <a:solidFill>
                  <a:schemeClr val="bg1"/>
                </a:solidFill>
                <a:latin typeface="+mn-lt"/>
                <a:ea typeface="+mn-ea"/>
                <a:cs typeface="+mn-cs"/>
              </a:defRPr>
            </a:lvl6pPr>
            <a:lvl7pPr marL="1764000" indent="-252000" algn="l" defTabSz="914400" rtl="0" eaLnBrk="1" latinLnBrk="0" hangingPunct="1">
              <a:spcBef>
                <a:spcPts val="400"/>
              </a:spcBef>
              <a:spcAft>
                <a:spcPts val="400"/>
              </a:spcAft>
              <a:buClr>
                <a:schemeClr val="tx2"/>
              </a:buClr>
              <a:buFont typeface="Wingdings" pitchFamily="2" charset="2"/>
              <a:buChar char="§"/>
              <a:tabLst/>
              <a:defRPr sz="1100" kern="1200">
                <a:solidFill>
                  <a:schemeClr val="bg1"/>
                </a:solidFill>
                <a:latin typeface="+mn-lt"/>
                <a:ea typeface="+mn-ea"/>
                <a:cs typeface="+mn-cs"/>
              </a:defRPr>
            </a:lvl7pPr>
            <a:lvl8pPr marL="2016000" indent="-252000" algn="l" defTabSz="914400" rtl="0" eaLnBrk="1" latinLnBrk="0" hangingPunct="1">
              <a:spcBef>
                <a:spcPts val="400"/>
              </a:spcBef>
              <a:spcAft>
                <a:spcPts val="400"/>
              </a:spcAft>
              <a:buClr>
                <a:schemeClr val="tx2"/>
              </a:buClr>
              <a:buFont typeface="Wingdings" pitchFamily="2" charset="2"/>
              <a:buChar char="§"/>
              <a:tabLst/>
              <a:defRPr sz="1000" kern="1200">
                <a:solidFill>
                  <a:schemeClr val="bg1"/>
                </a:solidFill>
                <a:latin typeface="+mn-lt"/>
                <a:ea typeface="+mn-ea"/>
                <a:cs typeface="+mn-cs"/>
              </a:defRPr>
            </a:lvl8pPr>
            <a:lvl9pPr marL="2268000" indent="-252000" algn="l" defTabSz="914400" rtl="0" eaLnBrk="1" latinLnBrk="0" hangingPunct="1">
              <a:spcBef>
                <a:spcPts val="0"/>
              </a:spcBef>
              <a:spcAft>
                <a:spcPts val="400"/>
              </a:spcAft>
              <a:buClr>
                <a:schemeClr val="tx2"/>
              </a:buClr>
              <a:buFont typeface="Wingdings" pitchFamily="2" charset="2"/>
              <a:buChar char="§"/>
              <a:tabLst/>
              <a:defRPr sz="1200" kern="1200">
                <a:solidFill>
                  <a:schemeClr val="bg1"/>
                </a:solidFill>
                <a:latin typeface="+mn-lt"/>
                <a:ea typeface="+mn-ea"/>
                <a:cs typeface="+mn-cs"/>
              </a:defRPr>
            </a:lvl9pPr>
          </a:lstStyle>
          <a:p>
            <a:pPr marL="457200" lvl="1" indent="-457200">
              <a:spcBef>
                <a:spcPts val="0"/>
              </a:spcBef>
              <a:spcAft>
                <a:spcPts val="1200"/>
              </a:spcAft>
              <a:buFont typeface="+mj-lt"/>
              <a:buAutoNum type="alphaLcPeriod"/>
            </a:pPr>
            <a:r>
              <a:rPr lang="en-IN" sz="2000" dirty="0">
                <a:solidFill>
                  <a:schemeClr val="lt1"/>
                </a:solidFill>
              </a:rPr>
              <a:t>I consider myself very informed in the TE/GE and IRS space</a:t>
            </a:r>
          </a:p>
          <a:p>
            <a:pPr marL="457200" lvl="1" indent="-457200">
              <a:spcBef>
                <a:spcPts val="0"/>
              </a:spcBef>
              <a:spcAft>
                <a:spcPts val="1200"/>
              </a:spcAft>
              <a:buFont typeface="+mj-lt"/>
              <a:buAutoNum type="alphaLcPeriod"/>
            </a:pPr>
            <a:r>
              <a:rPr lang="en-IN" sz="2000" dirty="0">
                <a:solidFill>
                  <a:schemeClr val="lt1"/>
                </a:solidFill>
              </a:rPr>
              <a:t>I understand TE/GE’s role on a high level, but do not keep up with the details on an annual basis</a:t>
            </a:r>
          </a:p>
          <a:p>
            <a:pPr marL="457200" lvl="1" indent="-457200">
              <a:spcBef>
                <a:spcPts val="0"/>
              </a:spcBef>
              <a:spcAft>
                <a:spcPts val="1200"/>
              </a:spcAft>
              <a:buFont typeface="+mj-lt"/>
              <a:buAutoNum type="alphaLcPeriod"/>
            </a:pPr>
            <a:r>
              <a:rPr lang="en-IN" sz="2000" dirty="0">
                <a:solidFill>
                  <a:schemeClr val="lt1"/>
                </a:solidFill>
              </a:rPr>
              <a:t>I have heard of it, but do not know much about its role/purpose</a:t>
            </a:r>
          </a:p>
          <a:p>
            <a:pPr marL="457200" lvl="1" indent="-457200">
              <a:spcBef>
                <a:spcPts val="0"/>
              </a:spcBef>
              <a:spcAft>
                <a:spcPts val="1200"/>
              </a:spcAft>
              <a:buFont typeface="+mj-lt"/>
              <a:buAutoNum type="alphaLcPeriod"/>
            </a:pPr>
            <a:r>
              <a:rPr lang="en-IN" sz="2000" dirty="0">
                <a:solidFill>
                  <a:schemeClr val="lt1"/>
                </a:solidFill>
              </a:rPr>
              <a:t>What is the TE/GE?</a:t>
            </a:r>
          </a:p>
        </p:txBody>
      </p:sp>
      <p:sp>
        <p:nvSpPr>
          <p:cNvPr id="7" name="Rectangle 6">
            <a:extLst>
              <a:ext uri="{FF2B5EF4-FFF2-40B4-BE49-F238E27FC236}">
                <a16:creationId xmlns:a16="http://schemas.microsoft.com/office/drawing/2014/main" id="{E7868077-7408-A6E1-A86C-2E3A0A5D6DB1}"/>
              </a:ext>
            </a:extLst>
          </p:cNvPr>
          <p:cNvSpPr>
            <a:spLocks/>
          </p:cNvSpPr>
          <p:nvPr/>
        </p:nvSpPr>
        <p:spPr>
          <a:xfrm>
            <a:off x="485523" y="1424450"/>
            <a:ext cx="11227052" cy="9144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rgbClr val="2E2E38"/>
                </a:solidFill>
              </a14:hiddenFill>
            </a:ext>
            <a:ext uri="{91240B29-F687-4F45-9708-019B960494DF}">
              <a14:hiddenLine xmlns:a14="http://schemas.microsoft.com/office/drawing/2010/main" w="12700" cap="flat" cmpd="sng" algn="ctr">
                <a:solidFill>
                  <a:srgbClr val="2E2E38"/>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r>
              <a:rPr lang="en-IN" sz="2400" b="1" dirty="0"/>
              <a:t>How much do you know about the IRS’s Tax-Exempt and Government Entities (TE/GE) division?</a:t>
            </a:r>
          </a:p>
        </p:txBody>
      </p:sp>
    </p:spTree>
    <p:extLst>
      <p:ext uri="{BB962C8B-B14F-4D97-AF65-F5344CB8AC3E}">
        <p14:creationId xmlns:p14="http://schemas.microsoft.com/office/powerpoint/2010/main" val="14050361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USTOMLAYOUT" val="F"/>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ark Background">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owerPoint 2024_Template_White-v2a.potx" id="{BD982E67-C16A-491D-BCD7-1A08DD91C0C8}" vid="{B512D0B6-1499-44EC-BE75-77DAFB9E0443}"/>
    </a:ext>
  </a:extLst>
</a:theme>
</file>

<file path=ppt/theme/theme2.xml><?xml version="1.0" encoding="utf-8"?>
<a:theme xmlns:a="http://schemas.openxmlformats.org/drawingml/2006/main" name="Small Text [DARK] PRES">
  <a:themeElements>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B049BAF3-56B5-46D4-A792-4DCC3BA574C6}"/>
    </a:ext>
  </a:extLst>
</a:theme>
</file>

<file path=ppt/theme/theme3.xml><?xml version="1.0" encoding="utf-8"?>
<a:theme xmlns:a="http://schemas.openxmlformats.org/drawingml/2006/main" name="2_Title-Dividers-Intro Slides">
  <a:themeElements>
    <a:clrScheme name="Custom 84">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fontScheme name="EY">
      <a:majorFont>
        <a:latin typeface="EYInterstate Regular"/>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tx2"/>
          </a:solidFill>
          <a:miter lim="800000"/>
        </a:ln>
      </a:spPr>
      <a:bodyPr lIns="108000" tIns="108000" rIns="108000" bIns="108000" rtlCol="0" anchor="t" anchorCtr="0"/>
      <a:lstStyle>
        <a:defPPr marL="252000" indent="-252000" algn="l">
          <a:lnSpc>
            <a:spcPct val="90000"/>
          </a:lnSpc>
          <a:spcBef>
            <a:spcPts val="400"/>
          </a:spcBef>
          <a:spcAft>
            <a:spcPts val="400"/>
          </a:spcAft>
          <a:buClr>
            <a:schemeClr val="tx2"/>
          </a:buClr>
          <a:buFont typeface="Wingdings" pitchFamily="2" charset="2"/>
          <a:buChar char="§"/>
          <a:defRPr sz="20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bg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nchor="t">
        <a:spAutoFit/>
      </a:bodyPr>
      <a:lstStyle>
        <a:defPPr marL="252000" indent="-252000" algn="l">
          <a:lnSpc>
            <a:spcPct val="90000"/>
          </a:lnSpc>
          <a:spcBef>
            <a:spcPts val="400"/>
          </a:spcBef>
          <a:spcAft>
            <a:spcPts val="400"/>
          </a:spcAft>
          <a:buClr>
            <a:schemeClr val="tx2"/>
          </a:buClr>
          <a:buSzPct val="100000"/>
          <a:buFont typeface="Wingdings" pitchFamily="2" charset="2"/>
          <a:buChar char="§"/>
          <a:defRPr sz="2000" dirty="0" err="1" smtClean="0">
            <a:solidFill>
              <a:schemeClr val="bg1"/>
            </a:solidFill>
          </a:defRPr>
        </a:defPPr>
      </a:lstStyle>
    </a:txDef>
  </a:objectDefaults>
  <a:extraClrSchemeLst/>
  <a:extLst>
    <a:ext uri="{05A4C25C-085E-4340-85A3-A5531E510DB2}">
      <thm15:themeFamily xmlns:thm15="http://schemas.microsoft.com/office/thememl/2012/main" name="Presentation4" id="{6054894B-E48A-4433-A55E-01D7C38471C3}" vid="{794C0507-F9C8-432A-B0D3-685488371FA7}"/>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10.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11.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12.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13.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14.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15.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16.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17.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18.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19.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2.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20.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21.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22.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23.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24.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25.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26.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27.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28.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29.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3.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30.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31.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32.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4.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5.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6.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7.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8.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ppt/theme/themeOverride9.xml><?xml version="1.0" encoding="utf-8"?>
<a:themeOverride xmlns:a="http://schemas.openxmlformats.org/drawingml/2006/main">
  <a:clrScheme name="Custom 83">
    <a:dk1>
      <a:srgbClr val="1A1A24"/>
    </a:dk1>
    <a:lt1>
      <a:srgbClr val="FFFFFF"/>
    </a:lt1>
    <a:dk2>
      <a:srgbClr val="FFE600"/>
    </a:dk2>
    <a:lt2>
      <a:srgbClr val="2E2E38"/>
    </a:lt2>
    <a:accent1>
      <a:srgbClr val="2DB757"/>
    </a:accent1>
    <a:accent2>
      <a:srgbClr val="27ACAA"/>
    </a:accent2>
    <a:accent3>
      <a:srgbClr val="188CE5"/>
    </a:accent3>
    <a:accent4>
      <a:srgbClr val="750E5C"/>
    </a:accent4>
    <a:accent5>
      <a:srgbClr val="FF4136"/>
    </a:accent5>
    <a:accent6>
      <a:srgbClr val="FF6D00"/>
    </a:accent6>
    <a:hlink>
      <a:srgbClr val="FFE600"/>
    </a:hlink>
    <a:folHlink>
      <a:srgbClr val="FFE6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E79A584A6DCB849A1E5CA596A7D852E" ma:contentTypeVersion="13" ma:contentTypeDescription="Create a new document." ma:contentTypeScope="" ma:versionID="35cf8f98855b4e7dffe6ee754051615e">
  <xsd:schema xmlns:xsd="http://www.w3.org/2001/XMLSchema" xmlns:xs="http://www.w3.org/2001/XMLSchema" xmlns:p="http://schemas.microsoft.com/office/2006/metadata/properties" xmlns:ns2="837f61bc-e404-496a-87c4-fe63c67275c1" xmlns:ns3="fb0825ad-cc8b-43e1-8337-5e6706acaec1" targetNamespace="http://schemas.microsoft.com/office/2006/metadata/properties" ma:root="true" ma:fieldsID="21794c7ccd63518b692d4e4ba115cc4a" ns2:_="" ns3:_="">
    <xsd:import namespace="837f61bc-e404-496a-87c4-fe63c67275c1"/>
    <xsd:import namespace="fb0825ad-cc8b-43e1-8337-5e6706acaec1"/>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LengthInSeconds" minOccurs="0"/>
                <xsd:element ref="ns3:SharedWithUsers" minOccurs="0"/>
                <xsd:element ref="ns3:SharedWithDetails" minOccurs="0"/>
                <xsd:element ref="ns2:MediaServiceObjectDetectorVersion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7f61bc-e404-496a-87c4-fe63c67275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bjectDetectorVersions" ma:index="17" nillable="true" ma:displayName="MediaServiceObjectDetectorVersions" ma:hidden="true" ma:indexed="true" ma:internalName="MediaServiceObjectDetectorVersions"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b0825ad-cc8b-43e1-8337-5e6706acaec1"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5087F47-891A-4332-AEE8-A122FCE56C49}">
  <ds:schemaRefs>
    <ds:schemaRef ds:uri="http://purl.org/dc/elements/1.1/"/>
    <ds:schemaRef ds:uri="http://schemas.microsoft.com/office/2006/metadata/properties"/>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837f61bc-e404-496a-87c4-fe63c67275c1"/>
    <ds:schemaRef ds:uri="fb0825ad-cc8b-43e1-8337-5e6706acaec1"/>
    <ds:schemaRef ds:uri="http://www.w3.org/XML/1998/namespace"/>
    <ds:schemaRef ds:uri="http://purl.org/dc/terms/"/>
  </ds:schemaRefs>
</ds:datastoreItem>
</file>

<file path=customXml/itemProps2.xml><?xml version="1.0" encoding="utf-8"?>
<ds:datastoreItem xmlns:ds="http://schemas.openxmlformats.org/officeDocument/2006/customXml" ds:itemID="{FEA85320-CC83-4791-86F1-DDA5819230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37f61bc-e404-496a-87c4-fe63c67275c1"/>
    <ds:schemaRef ds:uri="fb0825ad-cc8b-43e1-8337-5e6706acaec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AC014D9-0F8B-4066-823B-E589F64FAF1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ark-global-widescreen-presentation-template-v2.3</Template>
  <TotalTime>458</TotalTime>
  <Words>5783</Words>
  <Application>Microsoft Office PowerPoint</Application>
  <PresentationFormat>Widescreen</PresentationFormat>
  <Paragraphs>459</Paragraphs>
  <Slides>54</Slides>
  <Notes>43</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54</vt:i4>
      </vt:variant>
    </vt:vector>
  </HeadingPairs>
  <TitlesOfParts>
    <vt:vector size="66" baseType="lpstr">
      <vt:lpstr>-apple-system</vt:lpstr>
      <vt:lpstr>Arial</vt:lpstr>
      <vt:lpstr>Calibri</vt:lpstr>
      <vt:lpstr>EYInterstate</vt:lpstr>
      <vt:lpstr>EYInterstate Light</vt:lpstr>
      <vt:lpstr>Georgia Pro</vt:lpstr>
      <vt:lpstr>Segoe UI</vt:lpstr>
      <vt:lpstr>Wingdings</vt:lpstr>
      <vt:lpstr>Dark Background</vt:lpstr>
      <vt:lpstr>Small Text [DARK] PRES</vt:lpstr>
      <vt:lpstr>2_Title-Dividers-Intro Slides</vt:lpstr>
      <vt:lpstr>think-cell Slide</vt:lpstr>
      <vt:lpstr>Form 990 and IRS updates</vt:lpstr>
      <vt:lpstr>Disclaimer</vt:lpstr>
      <vt:lpstr>Presenters</vt:lpstr>
      <vt:lpstr>Polling question 1</vt:lpstr>
      <vt:lpstr>CPE eligibility</vt:lpstr>
      <vt:lpstr>Agenda</vt:lpstr>
      <vt:lpstr>Objectives</vt:lpstr>
      <vt:lpstr>IRS update</vt:lpstr>
      <vt:lpstr>Polling question 2</vt:lpstr>
      <vt:lpstr>IRS tax exempt and government entities division (TE/GE)</vt:lpstr>
      <vt:lpstr>IRS TE/GE’s FY24 Accomplishments letter </vt:lpstr>
      <vt:lpstr>IRS TE/GE’s FY24 accomplishments letter (cont.)</vt:lpstr>
      <vt:lpstr>Polling question 3</vt:lpstr>
      <vt:lpstr>IRS TE/GE’s FY24 accomplishments letter</vt:lpstr>
      <vt:lpstr>IRS TE/GE compliance strategies</vt:lpstr>
      <vt:lpstr>IRS TE/GE data-driven approaches</vt:lpstr>
      <vt:lpstr>IRS TE/GE referrals, claims and other casework</vt:lpstr>
      <vt:lpstr>IRS TE/GE compliance checks </vt:lpstr>
      <vt:lpstr>Polling question 4</vt:lpstr>
      <vt:lpstr>IRS/Treasury Priority Guidance Plan 2024–2025</vt:lpstr>
      <vt:lpstr>Department of the Treasury FY24-25 Priority Guidance Plan</vt:lpstr>
      <vt:lpstr>2024–2025 Priority Guidance Plan: exempt organizations items</vt:lpstr>
      <vt:lpstr>2024–2025 Priority Guidance Plan: other projects affecting EOs</vt:lpstr>
      <vt:lpstr>2024 Forms 990 and 990-T changes</vt:lpstr>
      <vt:lpstr>2024 updates — Forms 990, 990-T</vt:lpstr>
      <vt:lpstr>Schedule H and community benefit reporting considerations</vt:lpstr>
      <vt:lpstr>IRS Form 990, Schedule H: What is it?</vt:lpstr>
      <vt:lpstr>What is “community benefit”?</vt:lpstr>
      <vt:lpstr>Federal community benefit requirements</vt:lpstr>
      <vt:lpstr>Polling question 5</vt:lpstr>
      <vt:lpstr>Increasing scrutiny of tax-exempt hospitals’ community benefit</vt:lpstr>
      <vt:lpstr>Scrutiny of tax-exempt hospitals’ community benefit — why?</vt:lpstr>
      <vt:lpstr>Increased scrutiny of tax-exempt hospitals’ community benefit </vt:lpstr>
      <vt:lpstr>Increased scrutiny of tax-exempt hospitals’ community benefit (cont.) </vt:lpstr>
      <vt:lpstr>Increased scrutiny of tax-exempt hospitals’ community benefit (continued) </vt:lpstr>
      <vt:lpstr>Increased congressional scrutiny of tax-exempt hospitals’ community benefit </vt:lpstr>
      <vt:lpstr>IRC Section 501(r) and community benefit standard examinations</vt:lpstr>
      <vt:lpstr>IRS response to congressional hearings and reports</vt:lpstr>
      <vt:lpstr>IRC Section 501(r) — common information document requests</vt:lpstr>
      <vt:lpstr>Polling question 6</vt:lpstr>
      <vt:lpstr>Judicial and regulatory developments</vt:lpstr>
      <vt:lpstr>Recent judicial developments involving IRS TE/GE</vt:lpstr>
      <vt:lpstr>Recent judicial developments involving IRS TE/GE (cont.)</vt:lpstr>
      <vt:lpstr>Recent judicial developments involving IRS TE/GE (cont.)</vt:lpstr>
      <vt:lpstr>Recent judicial developments involving IRS TE/GE (cont.)</vt:lpstr>
      <vt:lpstr>Recent judicial developments involving IRS TE/GE (cont.)</vt:lpstr>
      <vt:lpstr>Recent EY EO tax alerts on regulatory developments </vt:lpstr>
      <vt:lpstr>Polling question 7</vt:lpstr>
      <vt:lpstr>IRS revocation of tax-exempt status of inactive entities</vt:lpstr>
      <vt:lpstr>IRS scrutiny of inactive organization for failure to meet IRC Section 501(c)(3) operational test for exemption</vt:lpstr>
      <vt:lpstr>IRS revokes tax-exempt status of inactive organization for failure to meet operational test for IRC Section 501(c)(3) exemption </vt:lpstr>
      <vt:lpstr>IRS revokes tax-exempt status of inactive organization for failure to meet operational test for IRC Section 501(c)(3) exemption (cont.)</vt:lpstr>
      <vt:lpstr>Key Takeaways</vt:lpstr>
      <vt:lpstr>PowerPoint Presentation</vt:lpstr>
    </vt:vector>
  </TitlesOfParts>
  <Company>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Reggie Hankerson</dc:creator>
  <cp:lastModifiedBy>Shaiju Ps</cp:lastModifiedBy>
  <cp:revision>9</cp:revision>
  <dcterms:created xsi:type="dcterms:W3CDTF">2024-11-19T15:37:01Z</dcterms:created>
  <dcterms:modified xsi:type="dcterms:W3CDTF">2025-03-28T05:2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E79A584A6DCB849A1E5CA596A7D852E</vt:lpwstr>
  </property>
  <property fmtid="{D5CDD505-2E9C-101B-9397-08002B2CF9AE}" pid="3" name="MediaServiceImageTags">
    <vt:lpwstr/>
  </property>
  <property fmtid="{D5CDD505-2E9C-101B-9397-08002B2CF9AE}" pid="4" name="WppReportDate">
    <vt:lpwstr/>
  </property>
  <property fmtid="{D5CDD505-2E9C-101B-9397-08002B2CF9AE}" pid="5" name="WppReportVersion">
    <vt:lpwstr>Version 1.0</vt:lpwstr>
  </property>
  <property fmtid="{D5CDD505-2E9C-101B-9397-08002B2CF9AE}" pid="6" name="WppReportDraft">
    <vt:lpwstr>(Draft)</vt:lpwstr>
  </property>
  <property fmtid="{D5CDD505-2E9C-101B-9397-08002B2CF9AE}" pid="7" name="WppReportCurrencySymbol">
    <vt:lpwstr>$</vt:lpwstr>
  </property>
  <property fmtid="{D5CDD505-2E9C-101B-9397-08002B2CF9AE}" pid="8" name="WppReportDashboardTitleText">
    <vt:lpwstr>Dashboard</vt:lpwstr>
  </property>
  <property fmtid="{D5CDD505-2E9C-101B-9397-08002B2CF9AE}" pid="9" name="WppReportShortPageNumberFormat">
    <vt:lpwstr>Page &lt;#&gt;</vt:lpwstr>
  </property>
  <property fmtid="{D5CDD505-2E9C-101B-9397-08002B2CF9AE}" pid="10" name="WppReportLongPageNumberFormat">
    <vt:lpwstr>Page &lt;#&gt; of &lt;PageCount&gt;</vt:lpwstr>
  </property>
  <property fmtid="{D5CDD505-2E9C-101B-9397-08002B2CF9AE}" pid="11" name="WppReportTocTitleText">
    <vt:lpwstr>Table of contents</vt:lpwstr>
  </property>
  <property fmtid="{D5CDD505-2E9C-101B-9397-08002B2CF9AE}" pid="12" name="WppReportIsTocUpdateRecommended">
    <vt:bool>true</vt:bool>
  </property>
  <property fmtid="{D5CDD505-2E9C-101B-9397-08002B2CF9AE}" pid="13" name="WppReportPropertiesLastWrittenToDocument">
    <vt:filetime>2025-03-19T11:03:50Z</vt:filetime>
  </property>
  <property fmtid="{D5CDD505-2E9C-101B-9397-08002B2CF9AE}" pid="14" name="TaxKeyword">
    <vt:lpwstr/>
  </property>
</Properties>
</file>